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3" r:id="rId3"/>
    <p:sldId id="264" r:id="rId4"/>
    <p:sldId id="257" r:id="rId5"/>
    <p:sldId id="258" r:id="rId6"/>
    <p:sldId id="278" r:id="rId7"/>
    <p:sldId id="259" r:id="rId8"/>
    <p:sldId id="265" r:id="rId9"/>
    <p:sldId id="266" r:id="rId10"/>
    <p:sldId id="272" r:id="rId11"/>
    <p:sldId id="268" r:id="rId12"/>
    <p:sldId id="273" r:id="rId13"/>
    <p:sldId id="269" r:id="rId14"/>
    <p:sldId id="267" r:id="rId15"/>
    <p:sldId id="270" r:id="rId16"/>
    <p:sldId id="274" r:id="rId17"/>
    <p:sldId id="275" r:id="rId18"/>
    <p:sldId id="276" r:id="rId19"/>
    <p:sldId id="277" r:id="rId20"/>
    <p:sldId id="279" r:id="rId21"/>
    <p:sldId id="271" r:id="rId22"/>
  </p:sldIdLst>
  <p:sldSz cx="9144000" cy="6858000" type="screen4x3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ECFF"/>
    <a:srgbClr val="CCFFCC"/>
    <a:srgbClr val="CC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8" autoAdjust="0"/>
    <p:restoredTop sz="94705" autoAdjust="0"/>
  </p:normalViewPr>
  <p:slideViewPr>
    <p:cSldViewPr>
      <p:cViewPr>
        <p:scale>
          <a:sx n="70" d="100"/>
          <a:sy n="70" d="100"/>
        </p:scale>
        <p:origin x="-1723" y="-29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95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57329E1-6ABB-49FF-AEA1-D132AE718637}" type="doc">
      <dgm:prSet loTypeId="urn:microsoft.com/office/officeart/2009/layout/CircleArrowProcess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81FC87D-97A6-47B5-9BA1-B725071357A4}">
      <dgm:prSet phldrT="[Text]"/>
      <dgm:spPr/>
      <dgm:t>
        <a:bodyPr/>
        <a:lstStyle/>
        <a:p>
          <a:r>
            <a:rPr lang="en-US" dirty="0" smtClean="0"/>
            <a:t>Founders</a:t>
          </a:r>
          <a:endParaRPr lang="en-US" dirty="0"/>
        </a:p>
      </dgm:t>
    </dgm:pt>
    <dgm:pt modelId="{BEE7C3E4-EF84-49F9-AE5A-30BA99C90456}" type="parTrans" cxnId="{B9E19F45-27A8-40AD-B021-B77A45399F1E}">
      <dgm:prSet/>
      <dgm:spPr/>
      <dgm:t>
        <a:bodyPr/>
        <a:lstStyle/>
        <a:p>
          <a:endParaRPr lang="en-US"/>
        </a:p>
      </dgm:t>
    </dgm:pt>
    <dgm:pt modelId="{27750502-433A-4B0B-BAB9-05C61CE105F2}" type="sibTrans" cxnId="{B9E19F45-27A8-40AD-B021-B77A45399F1E}">
      <dgm:prSet/>
      <dgm:spPr/>
      <dgm:t>
        <a:bodyPr/>
        <a:lstStyle/>
        <a:p>
          <a:endParaRPr lang="en-US"/>
        </a:p>
      </dgm:t>
    </dgm:pt>
    <dgm:pt modelId="{3837E055-6BCC-4134-91D0-82C590ADEF5D}">
      <dgm:prSet phldrT="[Text]"/>
      <dgm:spPr/>
      <dgm:t>
        <a:bodyPr/>
        <a:lstStyle/>
        <a:p>
          <a:r>
            <a:rPr lang="en-US" dirty="0" smtClean="0"/>
            <a:t>Investors</a:t>
          </a:r>
          <a:endParaRPr lang="en-US" dirty="0"/>
        </a:p>
      </dgm:t>
    </dgm:pt>
    <dgm:pt modelId="{B769E258-AE15-47CC-99FB-0AD0FF8C038E}" type="parTrans" cxnId="{F57A2E35-8CCC-4BDD-A713-AED0C20F21F4}">
      <dgm:prSet/>
      <dgm:spPr/>
      <dgm:t>
        <a:bodyPr/>
        <a:lstStyle/>
        <a:p>
          <a:endParaRPr lang="en-US"/>
        </a:p>
      </dgm:t>
    </dgm:pt>
    <dgm:pt modelId="{3D42E481-48F1-40BA-8422-EC74B65C5FA8}" type="sibTrans" cxnId="{F57A2E35-8CCC-4BDD-A713-AED0C20F21F4}">
      <dgm:prSet/>
      <dgm:spPr/>
      <dgm:t>
        <a:bodyPr/>
        <a:lstStyle/>
        <a:p>
          <a:endParaRPr lang="en-US"/>
        </a:p>
      </dgm:t>
    </dgm:pt>
    <dgm:pt modelId="{FDF75082-6611-4F69-90B3-FA8A740B9110}">
      <dgm:prSet phldrT="[Text]"/>
      <dgm:spPr/>
      <dgm:t>
        <a:bodyPr/>
        <a:lstStyle/>
        <a:p>
          <a:r>
            <a:rPr lang="en-US" dirty="0" smtClean="0"/>
            <a:t>Users</a:t>
          </a:r>
          <a:endParaRPr lang="en-US" dirty="0"/>
        </a:p>
      </dgm:t>
    </dgm:pt>
    <dgm:pt modelId="{7FC005EC-76BC-4474-A1DD-495DED82F5D8}" type="parTrans" cxnId="{592C9BF5-22D3-438C-935A-B442268CFF21}">
      <dgm:prSet/>
      <dgm:spPr/>
      <dgm:t>
        <a:bodyPr/>
        <a:lstStyle/>
        <a:p>
          <a:endParaRPr lang="en-US"/>
        </a:p>
      </dgm:t>
    </dgm:pt>
    <dgm:pt modelId="{80912828-D9D4-4F1B-B402-8C6AE34DA183}" type="sibTrans" cxnId="{592C9BF5-22D3-438C-935A-B442268CFF21}">
      <dgm:prSet/>
      <dgm:spPr/>
      <dgm:t>
        <a:bodyPr/>
        <a:lstStyle/>
        <a:p>
          <a:endParaRPr lang="en-US"/>
        </a:p>
      </dgm:t>
    </dgm:pt>
    <dgm:pt modelId="{4E51778C-53C2-44D6-8F62-D0FB50E4D5F5}" type="pres">
      <dgm:prSet presAssocID="{D57329E1-6ABB-49FF-AEA1-D132AE718637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B3B9738F-9BC9-4DF8-8512-99863A7648EB}" type="pres">
      <dgm:prSet presAssocID="{D81FC87D-97A6-47B5-9BA1-B725071357A4}" presName="Accent1" presStyleCnt="0"/>
      <dgm:spPr/>
    </dgm:pt>
    <dgm:pt modelId="{87830961-30FD-4662-ABCB-019E89ADB651}" type="pres">
      <dgm:prSet presAssocID="{D81FC87D-97A6-47B5-9BA1-B725071357A4}" presName="Accent" presStyleLbl="node1" presStyleIdx="0" presStyleCnt="3"/>
      <dgm:spPr/>
    </dgm:pt>
    <dgm:pt modelId="{E3AE2DC4-63CC-4704-8E0D-795A0B31C0FE}" type="pres">
      <dgm:prSet presAssocID="{D81FC87D-97A6-47B5-9BA1-B725071357A4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7E8B370-8B8E-4D41-82F8-CAEDB1D57451}" type="pres">
      <dgm:prSet presAssocID="{3837E055-6BCC-4134-91D0-82C590ADEF5D}" presName="Accent2" presStyleCnt="0"/>
      <dgm:spPr/>
    </dgm:pt>
    <dgm:pt modelId="{A6C9F4AB-9D65-47BD-9F37-BFA12562ED4F}" type="pres">
      <dgm:prSet presAssocID="{3837E055-6BCC-4134-91D0-82C590ADEF5D}" presName="Accent" presStyleLbl="node1" presStyleIdx="1" presStyleCnt="3"/>
      <dgm:spPr/>
    </dgm:pt>
    <dgm:pt modelId="{8EEA922D-A3D0-452D-8C9B-7B8A12FD0691}" type="pres">
      <dgm:prSet presAssocID="{3837E055-6BCC-4134-91D0-82C590ADEF5D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0EBDB1-E0CF-48CD-B323-D7B4D25C4451}" type="pres">
      <dgm:prSet presAssocID="{FDF75082-6611-4F69-90B3-FA8A740B9110}" presName="Accent3" presStyleCnt="0"/>
      <dgm:spPr/>
    </dgm:pt>
    <dgm:pt modelId="{B9B71565-E178-4101-B751-D65A117C636E}" type="pres">
      <dgm:prSet presAssocID="{FDF75082-6611-4F69-90B3-FA8A740B9110}" presName="Accent" presStyleLbl="node1" presStyleIdx="2" presStyleCnt="3"/>
      <dgm:spPr/>
    </dgm:pt>
    <dgm:pt modelId="{940D8E56-9A0D-4BB6-AB2D-D5FCC559A3BF}" type="pres">
      <dgm:prSet presAssocID="{FDF75082-6611-4F69-90B3-FA8A740B9110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57A2E35-8CCC-4BDD-A713-AED0C20F21F4}" srcId="{D57329E1-6ABB-49FF-AEA1-D132AE718637}" destId="{3837E055-6BCC-4134-91D0-82C590ADEF5D}" srcOrd="1" destOrd="0" parTransId="{B769E258-AE15-47CC-99FB-0AD0FF8C038E}" sibTransId="{3D42E481-48F1-40BA-8422-EC74B65C5FA8}"/>
    <dgm:cxn modelId="{592C9BF5-22D3-438C-935A-B442268CFF21}" srcId="{D57329E1-6ABB-49FF-AEA1-D132AE718637}" destId="{FDF75082-6611-4F69-90B3-FA8A740B9110}" srcOrd="2" destOrd="0" parTransId="{7FC005EC-76BC-4474-A1DD-495DED82F5D8}" sibTransId="{80912828-D9D4-4F1B-B402-8C6AE34DA183}"/>
    <dgm:cxn modelId="{8FFBD930-E32A-4E9B-9C17-3454C779FE72}" type="presOf" srcId="{D81FC87D-97A6-47B5-9BA1-B725071357A4}" destId="{E3AE2DC4-63CC-4704-8E0D-795A0B31C0FE}" srcOrd="0" destOrd="0" presId="urn:microsoft.com/office/officeart/2009/layout/CircleArrowProcess"/>
    <dgm:cxn modelId="{10EB3F65-FD70-42A9-946F-F716AFAD8C9A}" type="presOf" srcId="{D57329E1-6ABB-49FF-AEA1-D132AE718637}" destId="{4E51778C-53C2-44D6-8F62-D0FB50E4D5F5}" srcOrd="0" destOrd="0" presId="urn:microsoft.com/office/officeart/2009/layout/CircleArrowProcess"/>
    <dgm:cxn modelId="{8CC3AB5F-253F-4758-A88C-AA612E0F914B}" type="presOf" srcId="{FDF75082-6611-4F69-90B3-FA8A740B9110}" destId="{940D8E56-9A0D-4BB6-AB2D-D5FCC559A3BF}" srcOrd="0" destOrd="0" presId="urn:microsoft.com/office/officeart/2009/layout/CircleArrowProcess"/>
    <dgm:cxn modelId="{B9E19F45-27A8-40AD-B021-B77A45399F1E}" srcId="{D57329E1-6ABB-49FF-AEA1-D132AE718637}" destId="{D81FC87D-97A6-47B5-9BA1-B725071357A4}" srcOrd="0" destOrd="0" parTransId="{BEE7C3E4-EF84-49F9-AE5A-30BA99C90456}" sibTransId="{27750502-433A-4B0B-BAB9-05C61CE105F2}"/>
    <dgm:cxn modelId="{97230B7D-31F9-47D4-BBF8-FD0FC07B5D0F}" type="presOf" srcId="{3837E055-6BCC-4134-91D0-82C590ADEF5D}" destId="{8EEA922D-A3D0-452D-8C9B-7B8A12FD0691}" srcOrd="0" destOrd="0" presId="urn:microsoft.com/office/officeart/2009/layout/CircleArrowProcess"/>
    <dgm:cxn modelId="{7D4A782B-3B9E-4997-8778-72CFD087A042}" type="presParOf" srcId="{4E51778C-53C2-44D6-8F62-D0FB50E4D5F5}" destId="{B3B9738F-9BC9-4DF8-8512-99863A7648EB}" srcOrd="0" destOrd="0" presId="urn:microsoft.com/office/officeart/2009/layout/CircleArrowProcess"/>
    <dgm:cxn modelId="{D190292E-B030-4C50-9366-D8431F9E58CB}" type="presParOf" srcId="{B3B9738F-9BC9-4DF8-8512-99863A7648EB}" destId="{87830961-30FD-4662-ABCB-019E89ADB651}" srcOrd="0" destOrd="0" presId="urn:microsoft.com/office/officeart/2009/layout/CircleArrowProcess"/>
    <dgm:cxn modelId="{6984D2B3-E5A8-4399-BEFC-65039A83AC2E}" type="presParOf" srcId="{4E51778C-53C2-44D6-8F62-D0FB50E4D5F5}" destId="{E3AE2DC4-63CC-4704-8E0D-795A0B31C0FE}" srcOrd="1" destOrd="0" presId="urn:microsoft.com/office/officeart/2009/layout/CircleArrowProcess"/>
    <dgm:cxn modelId="{0FEA9752-754A-4DA3-8F10-F70CBFCE5A94}" type="presParOf" srcId="{4E51778C-53C2-44D6-8F62-D0FB50E4D5F5}" destId="{17E8B370-8B8E-4D41-82F8-CAEDB1D57451}" srcOrd="2" destOrd="0" presId="urn:microsoft.com/office/officeart/2009/layout/CircleArrowProcess"/>
    <dgm:cxn modelId="{AFD024E2-EBF1-4C50-AB32-45B5A8C5B9C7}" type="presParOf" srcId="{17E8B370-8B8E-4D41-82F8-CAEDB1D57451}" destId="{A6C9F4AB-9D65-47BD-9F37-BFA12562ED4F}" srcOrd="0" destOrd="0" presId="urn:microsoft.com/office/officeart/2009/layout/CircleArrowProcess"/>
    <dgm:cxn modelId="{F32FB7B9-AF2A-4591-AD18-79AD9CD8F41D}" type="presParOf" srcId="{4E51778C-53C2-44D6-8F62-D0FB50E4D5F5}" destId="{8EEA922D-A3D0-452D-8C9B-7B8A12FD0691}" srcOrd="3" destOrd="0" presId="urn:microsoft.com/office/officeart/2009/layout/CircleArrowProcess"/>
    <dgm:cxn modelId="{5A657F41-8250-484B-AEAF-27BA05ADCD85}" type="presParOf" srcId="{4E51778C-53C2-44D6-8F62-D0FB50E4D5F5}" destId="{5F0EBDB1-E0CF-48CD-B323-D7B4D25C4451}" srcOrd="4" destOrd="0" presId="urn:microsoft.com/office/officeart/2009/layout/CircleArrowProcess"/>
    <dgm:cxn modelId="{C3EFA525-3D07-4867-882D-1328FAE68DE9}" type="presParOf" srcId="{5F0EBDB1-E0CF-48CD-B323-D7B4D25C4451}" destId="{B9B71565-E178-4101-B751-D65A117C636E}" srcOrd="0" destOrd="0" presId="urn:microsoft.com/office/officeart/2009/layout/CircleArrowProcess"/>
    <dgm:cxn modelId="{AECB64F2-ED03-4887-9360-AFCF8F6EF4C0}" type="presParOf" srcId="{4E51778C-53C2-44D6-8F62-D0FB50E4D5F5}" destId="{940D8E56-9A0D-4BB6-AB2D-D5FCC559A3BF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481218C-1B37-40BD-9DE1-82DDBEB5CC78}" type="doc">
      <dgm:prSet loTypeId="urn:microsoft.com/office/officeart/2009/3/layout/Descending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610A947-D042-4484-815B-ABE4F4C46F80}">
      <dgm:prSet phldrT="[Text]" phldr="1"/>
      <dgm:spPr/>
      <dgm:t>
        <a:bodyPr/>
        <a:lstStyle/>
        <a:p>
          <a:endParaRPr lang="en-US" dirty="0"/>
        </a:p>
      </dgm:t>
    </dgm:pt>
    <dgm:pt modelId="{F5317D76-5C34-4DE2-A595-F67BB0B5AFE9}" type="sibTrans" cxnId="{3E5B500C-C5A0-46D5-8183-72A5AF32FE39}">
      <dgm:prSet/>
      <dgm:spPr/>
      <dgm:t>
        <a:bodyPr/>
        <a:lstStyle/>
        <a:p>
          <a:endParaRPr lang="en-US"/>
        </a:p>
      </dgm:t>
    </dgm:pt>
    <dgm:pt modelId="{B8856389-969B-4556-B947-87A9E9C74CAE}" type="parTrans" cxnId="{3E5B500C-C5A0-46D5-8183-72A5AF32FE39}">
      <dgm:prSet/>
      <dgm:spPr/>
      <dgm:t>
        <a:bodyPr/>
        <a:lstStyle/>
        <a:p>
          <a:endParaRPr lang="en-US"/>
        </a:p>
      </dgm:t>
    </dgm:pt>
    <dgm:pt modelId="{DE126BA7-4B27-48C5-BFD9-3B21229BA32B}" type="pres">
      <dgm:prSet presAssocID="{6481218C-1B37-40BD-9DE1-82DDBEB5CC78}" presName="Name0" presStyleCnt="0">
        <dgm:presLayoutVars>
          <dgm:chMax val="7"/>
          <dgm:chPref val="5"/>
        </dgm:presLayoutVars>
      </dgm:prSet>
      <dgm:spPr/>
      <dgm:t>
        <a:bodyPr/>
        <a:lstStyle/>
        <a:p>
          <a:endParaRPr lang="en-US"/>
        </a:p>
      </dgm:t>
    </dgm:pt>
    <dgm:pt modelId="{CF868587-C968-4EF8-9433-03DAD4C3BBCA}" type="pres">
      <dgm:prSet presAssocID="{6481218C-1B37-40BD-9DE1-82DDBEB5CC78}" presName="arrowNode" presStyleLbl="node1" presStyleIdx="0" presStyleCnt="1" custAng="13525007" custScaleX="64296" custScaleY="63606" custLinFactNeighborX="-44622" custLinFactNeighborY="-10869"/>
      <dgm:spPr/>
    </dgm:pt>
    <dgm:pt modelId="{A820F54B-5B11-4F17-A226-990E3E48FFB9}" type="pres">
      <dgm:prSet presAssocID="{B610A947-D042-4484-815B-ABE4F4C46F80}" presName="txNode1" presStyleLbl="revTx" presStyleIdx="0" presStyleCnt="1" custLinFactNeighborX="-80752" custLinFactNeighborY="-123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E5B500C-C5A0-46D5-8183-72A5AF32FE39}" srcId="{6481218C-1B37-40BD-9DE1-82DDBEB5CC78}" destId="{B610A947-D042-4484-815B-ABE4F4C46F80}" srcOrd="0" destOrd="0" parTransId="{B8856389-969B-4556-B947-87A9E9C74CAE}" sibTransId="{F5317D76-5C34-4DE2-A595-F67BB0B5AFE9}"/>
    <dgm:cxn modelId="{0C6D853D-899B-4BC7-A1FE-1D27CB05B367}" type="presOf" srcId="{B610A947-D042-4484-815B-ABE4F4C46F80}" destId="{A820F54B-5B11-4F17-A226-990E3E48FFB9}" srcOrd="0" destOrd="0" presId="urn:microsoft.com/office/officeart/2009/3/layout/DescendingProcess"/>
    <dgm:cxn modelId="{65369116-2BB4-4A8F-A9BB-429D06974017}" type="presOf" srcId="{6481218C-1B37-40BD-9DE1-82DDBEB5CC78}" destId="{DE126BA7-4B27-48C5-BFD9-3B21229BA32B}" srcOrd="0" destOrd="0" presId="urn:microsoft.com/office/officeart/2009/3/layout/DescendingProcess"/>
    <dgm:cxn modelId="{89E1967C-92E9-4E31-B6E5-2BDE10BDDF7A}" type="presParOf" srcId="{DE126BA7-4B27-48C5-BFD9-3B21229BA32B}" destId="{CF868587-C968-4EF8-9433-03DAD4C3BBCA}" srcOrd="0" destOrd="0" presId="urn:microsoft.com/office/officeart/2009/3/layout/DescendingProcess"/>
    <dgm:cxn modelId="{70CC4F9E-5E51-4F63-98E8-896B2D1B82E6}" type="presParOf" srcId="{DE126BA7-4B27-48C5-BFD9-3B21229BA32B}" destId="{A820F54B-5B11-4F17-A226-990E3E48FFB9}" srcOrd="1" destOrd="0" presId="urn:microsoft.com/office/officeart/2009/3/layout/DescendingProcess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0F268FF-9DE8-4DFB-B8C1-D11F4B35A8FD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BDF0DAB4-D6E9-49CE-9270-DAC07B2C3053}">
      <dgm:prSet phldrT="[Text]"/>
      <dgm:spPr/>
      <dgm:t>
        <a:bodyPr/>
        <a:lstStyle/>
        <a:p>
          <a:r>
            <a:rPr lang="en-US" dirty="0" smtClean="0"/>
            <a:t>Mix and match to </a:t>
          </a:r>
          <a:r>
            <a:rPr lang="en-US" b="1" dirty="0" smtClean="0"/>
            <a:t>optimize</a:t>
          </a:r>
          <a:r>
            <a:rPr lang="en-US" dirty="0" smtClean="0"/>
            <a:t> founder’s terms</a:t>
          </a:r>
          <a:endParaRPr lang="en-US" dirty="0"/>
        </a:p>
      </dgm:t>
    </dgm:pt>
    <dgm:pt modelId="{FA2C0875-BB20-4CC5-A3C1-630CA1B4702A}" type="parTrans" cxnId="{8731C24E-40ED-4077-A295-D619E66C6AAA}">
      <dgm:prSet/>
      <dgm:spPr/>
      <dgm:t>
        <a:bodyPr/>
        <a:lstStyle/>
        <a:p>
          <a:endParaRPr lang="en-US"/>
        </a:p>
      </dgm:t>
    </dgm:pt>
    <dgm:pt modelId="{2F4FD47D-2819-4E9A-93EC-28CB4E89DDAE}" type="sibTrans" cxnId="{8731C24E-40ED-4077-A295-D619E66C6AAA}">
      <dgm:prSet/>
      <dgm:spPr/>
      <dgm:t>
        <a:bodyPr/>
        <a:lstStyle/>
        <a:p>
          <a:endParaRPr lang="en-US"/>
        </a:p>
      </dgm:t>
    </dgm:pt>
    <dgm:pt modelId="{C63B603F-C568-4AB7-B96B-DA8CF29E59A2}">
      <dgm:prSet phldrT="[Text]"/>
      <dgm:spPr/>
      <dgm:t>
        <a:bodyPr/>
        <a:lstStyle/>
        <a:p>
          <a:r>
            <a:rPr lang="en-US" dirty="0" smtClean="0"/>
            <a:t>Create the terms of use allowing the start up to </a:t>
          </a:r>
          <a:r>
            <a:rPr lang="en-US" b="1" dirty="0" smtClean="0"/>
            <a:t>START UP</a:t>
          </a:r>
          <a:r>
            <a:rPr lang="en-US" dirty="0" smtClean="0"/>
            <a:t> in a single day</a:t>
          </a:r>
          <a:endParaRPr lang="en-US" dirty="0"/>
        </a:p>
      </dgm:t>
    </dgm:pt>
    <dgm:pt modelId="{78A66D43-3D57-4CC9-B48C-BE4BA2967E25}" type="parTrans" cxnId="{1DBB946B-61A9-48E7-9E8C-9C72BDFED9B6}">
      <dgm:prSet/>
      <dgm:spPr/>
      <dgm:t>
        <a:bodyPr/>
        <a:lstStyle/>
        <a:p>
          <a:endParaRPr lang="en-US"/>
        </a:p>
      </dgm:t>
    </dgm:pt>
    <dgm:pt modelId="{04A833E8-D924-413D-9CE9-5ADE2DF40654}" type="sibTrans" cxnId="{1DBB946B-61A9-48E7-9E8C-9C72BDFED9B6}">
      <dgm:prSet/>
      <dgm:spPr/>
      <dgm:t>
        <a:bodyPr/>
        <a:lstStyle/>
        <a:p>
          <a:endParaRPr lang="en-US"/>
        </a:p>
      </dgm:t>
    </dgm:pt>
    <dgm:pt modelId="{2DADC933-1635-4EB1-B5E8-1C9C38359F92}">
      <dgm:prSet phldrT="[Text]"/>
      <dgm:spPr/>
      <dgm:t>
        <a:bodyPr/>
        <a:lstStyle/>
        <a:p>
          <a:r>
            <a:rPr lang="en-US" b="1" dirty="0" smtClean="0"/>
            <a:t>Analyze</a:t>
          </a:r>
          <a:r>
            <a:rPr lang="en-US" dirty="0" smtClean="0"/>
            <a:t>, </a:t>
          </a:r>
          <a:r>
            <a:rPr lang="en-US" b="1" dirty="0" smtClean="0"/>
            <a:t>invest</a:t>
          </a:r>
          <a:r>
            <a:rPr lang="en-US" dirty="0" smtClean="0"/>
            <a:t>, and </a:t>
          </a:r>
          <a:r>
            <a:rPr lang="en-US" b="1" dirty="0" smtClean="0"/>
            <a:t>dynamically</a:t>
          </a:r>
          <a:r>
            <a:rPr lang="en-US" dirty="0" smtClean="0"/>
            <a:t> update ownership and organization as the business evolves through rounds of traditional financing and </a:t>
          </a:r>
          <a:r>
            <a:rPr lang="en-US" b="1" dirty="0" smtClean="0"/>
            <a:t>crowd funding</a:t>
          </a:r>
          <a:endParaRPr lang="en-US" b="1" dirty="0"/>
        </a:p>
      </dgm:t>
    </dgm:pt>
    <dgm:pt modelId="{A47DC5C2-58E8-4511-AEB9-71EB0118BF31}" type="parTrans" cxnId="{B44CBEE5-43A6-4EA8-9536-FCD3D0118FD3}">
      <dgm:prSet/>
      <dgm:spPr/>
      <dgm:t>
        <a:bodyPr/>
        <a:lstStyle/>
        <a:p>
          <a:endParaRPr lang="en-US"/>
        </a:p>
      </dgm:t>
    </dgm:pt>
    <dgm:pt modelId="{5CAF8028-F69F-42E3-A649-C1A750DFEE50}" type="sibTrans" cxnId="{B44CBEE5-43A6-4EA8-9536-FCD3D0118FD3}">
      <dgm:prSet/>
      <dgm:spPr/>
      <dgm:t>
        <a:bodyPr/>
        <a:lstStyle/>
        <a:p>
          <a:endParaRPr lang="en-US"/>
        </a:p>
      </dgm:t>
    </dgm:pt>
    <dgm:pt modelId="{68020141-CDAA-4744-BB1A-37643043C260}">
      <dgm:prSet phldrT="[Text]"/>
      <dgm:spPr/>
      <dgm:t>
        <a:bodyPr/>
        <a:lstStyle/>
        <a:p>
          <a:r>
            <a:rPr lang="en-US" b="1" dirty="0" smtClean="0"/>
            <a:t>Choose</a:t>
          </a:r>
          <a:r>
            <a:rPr lang="en-US" dirty="0" smtClean="0"/>
            <a:t> the best form of business association </a:t>
          </a:r>
          <a:endParaRPr lang="en-US" dirty="0"/>
        </a:p>
      </dgm:t>
    </dgm:pt>
    <dgm:pt modelId="{78F58555-E357-4C71-996F-CF1F7C6C575D}" type="parTrans" cxnId="{8B48668C-2F19-4206-8BB2-8363CFBBC4A7}">
      <dgm:prSet/>
      <dgm:spPr/>
      <dgm:t>
        <a:bodyPr/>
        <a:lstStyle/>
        <a:p>
          <a:endParaRPr lang="en-US"/>
        </a:p>
      </dgm:t>
    </dgm:pt>
    <dgm:pt modelId="{77B766F9-610A-4012-8B08-9ACE364F0DFA}" type="sibTrans" cxnId="{8B48668C-2F19-4206-8BB2-8363CFBBC4A7}">
      <dgm:prSet/>
      <dgm:spPr/>
      <dgm:t>
        <a:bodyPr/>
        <a:lstStyle/>
        <a:p>
          <a:endParaRPr lang="en-US"/>
        </a:p>
      </dgm:t>
    </dgm:pt>
    <dgm:pt modelId="{FDB2D600-B9DB-48B6-B5A8-1D3823858C49}" type="pres">
      <dgm:prSet presAssocID="{20F268FF-9DE8-4DFB-B8C1-D11F4B35A8FD}" presName="arrowDiagram" presStyleCnt="0">
        <dgm:presLayoutVars>
          <dgm:chMax val="5"/>
          <dgm:dir/>
          <dgm:resizeHandles val="exact"/>
        </dgm:presLayoutVars>
      </dgm:prSet>
      <dgm:spPr/>
    </dgm:pt>
    <dgm:pt modelId="{5FE476A7-3FEB-489A-88B0-999EF4E080D4}" type="pres">
      <dgm:prSet presAssocID="{20F268FF-9DE8-4DFB-B8C1-D11F4B35A8FD}" presName="arrow" presStyleLbl="bgShp" presStyleIdx="0" presStyleCnt="1" custLinFactNeighborY="-4545"/>
      <dgm:spPr/>
    </dgm:pt>
    <dgm:pt modelId="{1965C6C3-3076-48F2-B734-ACB874C8E75F}" type="pres">
      <dgm:prSet presAssocID="{20F268FF-9DE8-4DFB-B8C1-D11F4B35A8FD}" presName="arrowDiagram4" presStyleCnt="0"/>
      <dgm:spPr/>
    </dgm:pt>
    <dgm:pt modelId="{289ED55D-9210-4586-ADBA-5E51955A1805}" type="pres">
      <dgm:prSet presAssocID="{BDF0DAB4-D6E9-49CE-9270-DAC07B2C3053}" presName="bullet4a" presStyleLbl="node1" presStyleIdx="0" presStyleCnt="4"/>
      <dgm:spPr/>
    </dgm:pt>
    <dgm:pt modelId="{DEA76F9B-946E-4CD5-ADAE-75B410B00CCC}" type="pres">
      <dgm:prSet presAssocID="{BDF0DAB4-D6E9-49CE-9270-DAC07B2C3053}" presName="textBox4a" presStyleLbl="revTx" presStyleIdx="0" presStyleCnt="4" custLinFactY="-31474" custLinFactNeighborX="-64327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943D648-910D-4DFF-B891-3EC30010240D}" type="pres">
      <dgm:prSet presAssocID="{68020141-CDAA-4744-BB1A-37643043C260}" presName="bullet4b" presStyleLbl="node1" presStyleIdx="1" presStyleCnt="4"/>
      <dgm:spPr/>
    </dgm:pt>
    <dgm:pt modelId="{A7090C8F-67F2-40FD-B525-DDDD9A93658C}" type="pres">
      <dgm:prSet presAssocID="{68020141-CDAA-4744-BB1A-37643043C260}" presName="textBox4b" presStyleLbl="revTx" presStyleIdx="1" presStyleCnt="4" custScaleY="79801" custLinFactNeighborX="-29913" custLinFactNeighborY="75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29F1DF-0670-421B-B796-B256440B1401}" type="pres">
      <dgm:prSet presAssocID="{C63B603F-C568-4AB7-B96B-DA8CF29E59A2}" presName="bullet4c" presStyleLbl="node1" presStyleIdx="2" presStyleCnt="4"/>
      <dgm:spPr/>
    </dgm:pt>
    <dgm:pt modelId="{7A149A7E-BD17-4A34-ACD3-8BFBAB114421}" type="pres">
      <dgm:prSet presAssocID="{C63B603F-C568-4AB7-B96B-DA8CF29E59A2}" presName="textBox4c" presStyleLbl="revTx" presStyleIdx="2" presStyleCnt="4" custLinFactX="-5844" custLinFactNeighborX="-100000" custLinFactNeighborY="-5975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F45BB59-889E-4167-B241-F2DD6C405CC6}" type="pres">
      <dgm:prSet presAssocID="{2DADC933-1635-4EB1-B5E8-1C9C38359F92}" presName="bullet4d" presStyleLbl="node1" presStyleIdx="3" presStyleCnt="4"/>
      <dgm:spPr/>
    </dgm:pt>
    <dgm:pt modelId="{02BA6D95-2417-4BD1-82EB-D4DE4EF002F5}" type="pres">
      <dgm:prSet presAssocID="{2DADC933-1635-4EB1-B5E8-1C9C38359F92}" presName="textBox4d" presStyleLbl="revTx" presStyleIdx="3" presStyleCnt="4" custLinFactNeighborX="-22527" custLinFactNeighborY="109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A6E5FF9-2201-4EE8-8ACE-925F46DF6B9E}" type="presOf" srcId="{2DADC933-1635-4EB1-B5E8-1C9C38359F92}" destId="{02BA6D95-2417-4BD1-82EB-D4DE4EF002F5}" srcOrd="0" destOrd="0" presId="urn:microsoft.com/office/officeart/2005/8/layout/arrow2"/>
    <dgm:cxn modelId="{B44CBEE5-43A6-4EA8-9536-FCD3D0118FD3}" srcId="{20F268FF-9DE8-4DFB-B8C1-D11F4B35A8FD}" destId="{2DADC933-1635-4EB1-B5E8-1C9C38359F92}" srcOrd="3" destOrd="0" parTransId="{A47DC5C2-58E8-4511-AEB9-71EB0118BF31}" sibTransId="{5CAF8028-F69F-42E3-A649-C1A750DFEE50}"/>
    <dgm:cxn modelId="{8731C24E-40ED-4077-A295-D619E66C6AAA}" srcId="{20F268FF-9DE8-4DFB-B8C1-D11F4B35A8FD}" destId="{BDF0DAB4-D6E9-49CE-9270-DAC07B2C3053}" srcOrd="0" destOrd="0" parTransId="{FA2C0875-BB20-4CC5-A3C1-630CA1B4702A}" sibTransId="{2F4FD47D-2819-4E9A-93EC-28CB4E89DDAE}"/>
    <dgm:cxn modelId="{60C2E299-9F62-4A2C-84AD-55D021272BD7}" type="presOf" srcId="{C63B603F-C568-4AB7-B96B-DA8CF29E59A2}" destId="{7A149A7E-BD17-4A34-ACD3-8BFBAB114421}" srcOrd="0" destOrd="0" presId="urn:microsoft.com/office/officeart/2005/8/layout/arrow2"/>
    <dgm:cxn modelId="{6006B7DB-C934-4D22-87F9-3FD2F39E7237}" type="presOf" srcId="{20F268FF-9DE8-4DFB-B8C1-D11F4B35A8FD}" destId="{FDB2D600-B9DB-48B6-B5A8-1D3823858C49}" srcOrd="0" destOrd="0" presId="urn:microsoft.com/office/officeart/2005/8/layout/arrow2"/>
    <dgm:cxn modelId="{8B48668C-2F19-4206-8BB2-8363CFBBC4A7}" srcId="{20F268FF-9DE8-4DFB-B8C1-D11F4B35A8FD}" destId="{68020141-CDAA-4744-BB1A-37643043C260}" srcOrd="1" destOrd="0" parTransId="{78F58555-E357-4C71-996F-CF1F7C6C575D}" sibTransId="{77B766F9-610A-4012-8B08-9ACE364F0DFA}"/>
    <dgm:cxn modelId="{3D041CCF-26D6-429E-8F42-B3E5E379C021}" type="presOf" srcId="{BDF0DAB4-D6E9-49CE-9270-DAC07B2C3053}" destId="{DEA76F9B-946E-4CD5-ADAE-75B410B00CCC}" srcOrd="0" destOrd="0" presId="urn:microsoft.com/office/officeart/2005/8/layout/arrow2"/>
    <dgm:cxn modelId="{1DBB946B-61A9-48E7-9E8C-9C72BDFED9B6}" srcId="{20F268FF-9DE8-4DFB-B8C1-D11F4B35A8FD}" destId="{C63B603F-C568-4AB7-B96B-DA8CF29E59A2}" srcOrd="2" destOrd="0" parTransId="{78A66D43-3D57-4CC9-B48C-BE4BA2967E25}" sibTransId="{04A833E8-D924-413D-9CE9-5ADE2DF40654}"/>
    <dgm:cxn modelId="{FC7AA173-C1BC-4B1A-B23B-A5A78822B51A}" type="presOf" srcId="{68020141-CDAA-4744-BB1A-37643043C260}" destId="{A7090C8F-67F2-40FD-B525-DDDD9A93658C}" srcOrd="0" destOrd="0" presId="urn:microsoft.com/office/officeart/2005/8/layout/arrow2"/>
    <dgm:cxn modelId="{168E8133-6D37-4373-971B-F0CA57AE536B}" type="presParOf" srcId="{FDB2D600-B9DB-48B6-B5A8-1D3823858C49}" destId="{5FE476A7-3FEB-489A-88B0-999EF4E080D4}" srcOrd="0" destOrd="0" presId="urn:microsoft.com/office/officeart/2005/8/layout/arrow2"/>
    <dgm:cxn modelId="{2046B250-61A1-4376-9799-BA46DCC0F599}" type="presParOf" srcId="{FDB2D600-B9DB-48B6-B5A8-1D3823858C49}" destId="{1965C6C3-3076-48F2-B734-ACB874C8E75F}" srcOrd="1" destOrd="0" presId="urn:microsoft.com/office/officeart/2005/8/layout/arrow2"/>
    <dgm:cxn modelId="{415E8EE1-4D7B-4B64-91B2-337A9454EA1D}" type="presParOf" srcId="{1965C6C3-3076-48F2-B734-ACB874C8E75F}" destId="{289ED55D-9210-4586-ADBA-5E51955A1805}" srcOrd="0" destOrd="0" presId="urn:microsoft.com/office/officeart/2005/8/layout/arrow2"/>
    <dgm:cxn modelId="{07A81B9A-918D-4511-BCD6-3827D4B68FAD}" type="presParOf" srcId="{1965C6C3-3076-48F2-B734-ACB874C8E75F}" destId="{DEA76F9B-946E-4CD5-ADAE-75B410B00CCC}" srcOrd="1" destOrd="0" presId="urn:microsoft.com/office/officeart/2005/8/layout/arrow2"/>
    <dgm:cxn modelId="{C591A1FF-43E1-4BAA-8BE8-CF630C25CB56}" type="presParOf" srcId="{1965C6C3-3076-48F2-B734-ACB874C8E75F}" destId="{F943D648-910D-4DFF-B891-3EC30010240D}" srcOrd="2" destOrd="0" presId="urn:microsoft.com/office/officeart/2005/8/layout/arrow2"/>
    <dgm:cxn modelId="{854B1CF3-4095-4161-8C73-3DE940068FA6}" type="presParOf" srcId="{1965C6C3-3076-48F2-B734-ACB874C8E75F}" destId="{A7090C8F-67F2-40FD-B525-DDDD9A93658C}" srcOrd="3" destOrd="0" presId="urn:microsoft.com/office/officeart/2005/8/layout/arrow2"/>
    <dgm:cxn modelId="{1CBFD436-1D41-47D6-B761-BA19889D53AE}" type="presParOf" srcId="{1965C6C3-3076-48F2-B734-ACB874C8E75F}" destId="{3029F1DF-0670-421B-B796-B256440B1401}" srcOrd="4" destOrd="0" presId="urn:microsoft.com/office/officeart/2005/8/layout/arrow2"/>
    <dgm:cxn modelId="{97FE6905-D000-471C-BDC9-6C0B7F49AC99}" type="presParOf" srcId="{1965C6C3-3076-48F2-B734-ACB874C8E75F}" destId="{7A149A7E-BD17-4A34-ACD3-8BFBAB114421}" srcOrd="5" destOrd="0" presId="urn:microsoft.com/office/officeart/2005/8/layout/arrow2"/>
    <dgm:cxn modelId="{01FEA9BB-334D-4649-9F62-BE4043B02D83}" type="presParOf" srcId="{1965C6C3-3076-48F2-B734-ACB874C8E75F}" destId="{DF45BB59-889E-4167-B241-F2DD6C405CC6}" srcOrd="6" destOrd="0" presId="urn:microsoft.com/office/officeart/2005/8/layout/arrow2"/>
    <dgm:cxn modelId="{70181C89-D80B-4196-801A-D6E118FBC311}" type="presParOf" srcId="{1965C6C3-3076-48F2-B734-ACB874C8E75F}" destId="{02BA6D95-2417-4BD1-82EB-D4DE4EF002F5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CD29E0A-844B-4F5A-90C7-A5D40A1C1D30}" type="doc">
      <dgm:prSet loTypeId="urn:microsoft.com/office/officeart/2005/8/layout/b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927C9D9-71BB-4710-8E42-CF5AF868C613}">
      <dgm:prSet phldrT="[Text]"/>
      <dgm:spPr/>
      <dgm:t>
        <a:bodyPr/>
        <a:lstStyle/>
        <a:p>
          <a:r>
            <a:rPr lang="en-US" dirty="0" smtClean="0"/>
            <a:t>Lower startup legal fees</a:t>
          </a:r>
          <a:endParaRPr lang="en-US" dirty="0"/>
        </a:p>
      </dgm:t>
    </dgm:pt>
    <dgm:pt modelId="{6ADE6114-B3F5-4D5C-A87D-D6D104F220BC}" type="parTrans" cxnId="{53E970AE-305A-4694-88C5-3362C900147E}">
      <dgm:prSet/>
      <dgm:spPr/>
      <dgm:t>
        <a:bodyPr/>
        <a:lstStyle/>
        <a:p>
          <a:endParaRPr lang="en-US"/>
        </a:p>
      </dgm:t>
    </dgm:pt>
    <dgm:pt modelId="{7810F4B0-6F25-46D5-B3F9-509F2EC26E7F}" type="sibTrans" cxnId="{53E970AE-305A-4694-88C5-3362C900147E}">
      <dgm:prSet/>
      <dgm:spPr/>
      <dgm:t>
        <a:bodyPr/>
        <a:lstStyle/>
        <a:p>
          <a:endParaRPr lang="en-US"/>
        </a:p>
      </dgm:t>
    </dgm:pt>
    <dgm:pt modelId="{1CBE1D15-0874-4AA1-A6FD-C794CFDE392E}">
      <dgm:prSet phldrT="[Text]"/>
      <dgm:spPr/>
      <dgm:t>
        <a:bodyPr/>
        <a:lstStyle/>
        <a:p>
          <a:r>
            <a:rPr lang="en-US" dirty="0" smtClean="0"/>
            <a:t>Faster due diligence</a:t>
          </a:r>
          <a:endParaRPr lang="en-US" dirty="0"/>
        </a:p>
      </dgm:t>
    </dgm:pt>
    <dgm:pt modelId="{64BC6419-ACD3-4A5F-8B24-2FFF857E1BC1}" type="parTrans" cxnId="{D0C6E1D4-9B3C-4506-85FA-1EBB4B01642D}">
      <dgm:prSet/>
      <dgm:spPr/>
      <dgm:t>
        <a:bodyPr/>
        <a:lstStyle/>
        <a:p>
          <a:endParaRPr lang="en-US"/>
        </a:p>
      </dgm:t>
    </dgm:pt>
    <dgm:pt modelId="{BB138827-E32B-4627-A28F-8AEF78B221EF}" type="sibTrans" cxnId="{D0C6E1D4-9B3C-4506-85FA-1EBB4B01642D}">
      <dgm:prSet/>
      <dgm:spPr/>
      <dgm:t>
        <a:bodyPr/>
        <a:lstStyle/>
        <a:p>
          <a:endParaRPr lang="en-US"/>
        </a:p>
      </dgm:t>
    </dgm:pt>
    <dgm:pt modelId="{BA8A4787-9A3C-4CAD-A558-F4A6AA0E5540}">
      <dgm:prSet phldrT="[Text]"/>
      <dgm:spPr/>
      <dgm:t>
        <a:bodyPr/>
        <a:lstStyle/>
        <a:p>
          <a:r>
            <a:rPr lang="en-US" dirty="0" smtClean="0"/>
            <a:t>Easier access to funding</a:t>
          </a:r>
          <a:endParaRPr lang="en-US" dirty="0"/>
        </a:p>
      </dgm:t>
    </dgm:pt>
    <dgm:pt modelId="{333E438C-991B-4423-9CB2-DBC0B7DCADD9}" type="parTrans" cxnId="{2DAC4E9C-ED97-46A7-9065-EDA5FD821034}">
      <dgm:prSet/>
      <dgm:spPr/>
      <dgm:t>
        <a:bodyPr/>
        <a:lstStyle/>
        <a:p>
          <a:endParaRPr lang="en-US"/>
        </a:p>
      </dgm:t>
    </dgm:pt>
    <dgm:pt modelId="{70A3E796-F7F6-4F93-AD01-DF2EEF1D8AEC}" type="sibTrans" cxnId="{2DAC4E9C-ED97-46A7-9065-EDA5FD821034}">
      <dgm:prSet/>
      <dgm:spPr/>
      <dgm:t>
        <a:bodyPr/>
        <a:lstStyle/>
        <a:p>
          <a:endParaRPr lang="en-US"/>
        </a:p>
      </dgm:t>
    </dgm:pt>
    <dgm:pt modelId="{266DB419-ADD5-45E2-B654-B6B044AF9654}">
      <dgm:prSet phldrT="[Text]"/>
      <dgm:spPr/>
      <dgm:t>
        <a:bodyPr/>
        <a:lstStyle/>
        <a:p>
          <a:r>
            <a:rPr lang="en-US" dirty="0" smtClean="0"/>
            <a:t>Additional crowd funding</a:t>
          </a:r>
          <a:endParaRPr lang="en-US" dirty="0"/>
        </a:p>
      </dgm:t>
    </dgm:pt>
    <dgm:pt modelId="{E8CBBE93-C8DD-4488-B527-14A62C9FB1A9}" type="parTrans" cxnId="{F2808BFC-89EC-4C72-B81C-315E0B4FD5C3}">
      <dgm:prSet/>
      <dgm:spPr/>
      <dgm:t>
        <a:bodyPr/>
        <a:lstStyle/>
        <a:p>
          <a:endParaRPr lang="en-US"/>
        </a:p>
      </dgm:t>
    </dgm:pt>
    <dgm:pt modelId="{FB8A4789-27B1-4673-B18C-99899552B31C}" type="sibTrans" cxnId="{F2808BFC-89EC-4C72-B81C-315E0B4FD5C3}">
      <dgm:prSet/>
      <dgm:spPr/>
      <dgm:t>
        <a:bodyPr/>
        <a:lstStyle/>
        <a:p>
          <a:endParaRPr lang="en-US"/>
        </a:p>
      </dgm:t>
    </dgm:pt>
    <dgm:pt modelId="{AA76FF9A-D4E8-46B6-A1FD-771238608AF5}">
      <dgm:prSet phldrT="[Text]"/>
      <dgm:spPr/>
      <dgm:t>
        <a:bodyPr/>
        <a:lstStyle/>
        <a:p>
          <a:r>
            <a:rPr lang="en-US" dirty="0" smtClean="0"/>
            <a:t>Marketplace for legal services</a:t>
          </a:r>
          <a:endParaRPr lang="en-US" dirty="0"/>
        </a:p>
      </dgm:t>
    </dgm:pt>
    <dgm:pt modelId="{72B8D090-E019-445B-963D-5F9A1E595367}" type="parTrans" cxnId="{DE1C02B3-0A1E-4A84-A97F-661C092AB3A4}">
      <dgm:prSet/>
      <dgm:spPr/>
      <dgm:t>
        <a:bodyPr/>
        <a:lstStyle/>
        <a:p>
          <a:endParaRPr lang="en-US"/>
        </a:p>
      </dgm:t>
    </dgm:pt>
    <dgm:pt modelId="{CEF4A362-A61D-4B25-B4DB-41C6B90F3B68}" type="sibTrans" cxnId="{DE1C02B3-0A1E-4A84-A97F-661C092AB3A4}">
      <dgm:prSet/>
      <dgm:spPr/>
      <dgm:t>
        <a:bodyPr/>
        <a:lstStyle/>
        <a:p>
          <a:endParaRPr lang="en-US"/>
        </a:p>
      </dgm:t>
    </dgm:pt>
    <dgm:pt modelId="{B6F8908D-B373-4DED-A1C8-F82AA4815EB4}">
      <dgm:prSet phldrT="[Text]"/>
      <dgm:spPr/>
      <dgm:t>
        <a:bodyPr/>
        <a:lstStyle/>
        <a:p>
          <a:r>
            <a:rPr lang="en-US" dirty="0" smtClean="0"/>
            <a:t>Marketplace for other services</a:t>
          </a:r>
          <a:endParaRPr lang="en-US" dirty="0"/>
        </a:p>
      </dgm:t>
    </dgm:pt>
    <dgm:pt modelId="{50A04344-7B55-4EEE-8E1B-C52391664748}" type="parTrans" cxnId="{50F445CF-7C20-4E2E-89AB-EED837034511}">
      <dgm:prSet/>
      <dgm:spPr/>
      <dgm:t>
        <a:bodyPr/>
        <a:lstStyle/>
        <a:p>
          <a:endParaRPr lang="en-US"/>
        </a:p>
      </dgm:t>
    </dgm:pt>
    <dgm:pt modelId="{650E38B1-EE7E-4711-AB60-A2E5DD90793E}" type="sibTrans" cxnId="{50F445CF-7C20-4E2E-89AB-EED837034511}">
      <dgm:prSet/>
      <dgm:spPr/>
      <dgm:t>
        <a:bodyPr/>
        <a:lstStyle/>
        <a:p>
          <a:endParaRPr lang="en-US"/>
        </a:p>
      </dgm:t>
    </dgm:pt>
    <dgm:pt modelId="{18190D7B-1F2E-4A19-9638-BA0F758B3312}">
      <dgm:prSet phldrT="[Text]"/>
      <dgm:spPr/>
      <dgm:t>
        <a:bodyPr/>
        <a:lstStyle/>
        <a:p>
          <a:r>
            <a:rPr lang="en-US" dirty="0" smtClean="0"/>
            <a:t>Community support </a:t>
          </a:r>
          <a:endParaRPr lang="en-US" dirty="0"/>
        </a:p>
      </dgm:t>
    </dgm:pt>
    <dgm:pt modelId="{888A6CC8-070E-40DC-B658-4A0B0A358B31}" type="parTrans" cxnId="{8E8F99C7-C22C-401C-914B-3923E2BD9774}">
      <dgm:prSet/>
      <dgm:spPr/>
      <dgm:t>
        <a:bodyPr/>
        <a:lstStyle/>
        <a:p>
          <a:endParaRPr lang="en-US"/>
        </a:p>
      </dgm:t>
    </dgm:pt>
    <dgm:pt modelId="{EFDCFCE2-ACA8-4166-8508-36C4CD1AD49A}" type="sibTrans" cxnId="{8E8F99C7-C22C-401C-914B-3923E2BD9774}">
      <dgm:prSet/>
      <dgm:spPr/>
      <dgm:t>
        <a:bodyPr/>
        <a:lstStyle/>
        <a:p>
          <a:endParaRPr lang="en-US"/>
        </a:p>
      </dgm:t>
    </dgm:pt>
    <dgm:pt modelId="{14696309-9234-4EC0-B230-12AB373AA31E}">
      <dgm:prSet phldrT="[Text]"/>
      <dgm:spPr/>
      <dgm:t>
        <a:bodyPr/>
        <a:lstStyle/>
        <a:p>
          <a:r>
            <a:rPr lang="en-US" dirty="0" smtClean="0"/>
            <a:t>Supercharged Ecology </a:t>
          </a:r>
          <a:endParaRPr lang="en-US" dirty="0"/>
        </a:p>
      </dgm:t>
    </dgm:pt>
    <dgm:pt modelId="{6786DB49-36BB-4A24-84CE-A36D73E4556E}" type="parTrans" cxnId="{0FF2FB00-7F10-4A30-91A6-7482557F2B96}">
      <dgm:prSet/>
      <dgm:spPr/>
      <dgm:t>
        <a:bodyPr/>
        <a:lstStyle/>
        <a:p>
          <a:endParaRPr lang="en-US"/>
        </a:p>
      </dgm:t>
    </dgm:pt>
    <dgm:pt modelId="{1325BE16-3C29-4338-A698-87D005B5A66D}" type="sibTrans" cxnId="{0FF2FB00-7F10-4A30-91A6-7482557F2B96}">
      <dgm:prSet/>
      <dgm:spPr/>
      <dgm:t>
        <a:bodyPr/>
        <a:lstStyle/>
        <a:p>
          <a:endParaRPr lang="en-US"/>
        </a:p>
      </dgm:t>
    </dgm:pt>
    <dgm:pt modelId="{EE8554C4-C3A4-43AE-8D31-CEEE8D8FB1C0}">
      <dgm:prSet phldrT="[Text]"/>
      <dgm:spPr/>
      <dgm:t>
        <a:bodyPr/>
        <a:lstStyle/>
        <a:p>
          <a:r>
            <a:rPr lang="en-US" dirty="0" err="1" smtClean="0"/>
            <a:t>Optimizeable</a:t>
          </a:r>
          <a:r>
            <a:rPr lang="en-US" dirty="0" smtClean="0"/>
            <a:t> “legal piece parts”</a:t>
          </a:r>
          <a:endParaRPr lang="en-US" dirty="0"/>
        </a:p>
      </dgm:t>
    </dgm:pt>
    <dgm:pt modelId="{AE671F8C-DC17-4E2E-832B-CEFAAC9E8D23}" type="parTrans" cxnId="{431FAB21-8980-4A78-999B-AA488D1CB7B3}">
      <dgm:prSet/>
      <dgm:spPr/>
      <dgm:t>
        <a:bodyPr/>
        <a:lstStyle/>
        <a:p>
          <a:endParaRPr lang="en-US"/>
        </a:p>
      </dgm:t>
    </dgm:pt>
    <dgm:pt modelId="{14642A5D-A4CA-494C-B05E-488C3E795DCD}" type="sibTrans" cxnId="{431FAB21-8980-4A78-999B-AA488D1CB7B3}">
      <dgm:prSet/>
      <dgm:spPr/>
      <dgm:t>
        <a:bodyPr/>
        <a:lstStyle/>
        <a:p>
          <a:endParaRPr lang="en-US"/>
        </a:p>
      </dgm:t>
    </dgm:pt>
    <dgm:pt modelId="{4B00A3B8-0B4D-4A82-B099-9F3A8285D1E1}" type="pres">
      <dgm:prSet presAssocID="{0CD29E0A-844B-4F5A-90C7-A5D40A1C1D30}" presName="Name0" presStyleCnt="0">
        <dgm:presLayoutVars>
          <dgm:dir/>
          <dgm:resizeHandles/>
        </dgm:presLayoutVars>
      </dgm:prSet>
      <dgm:spPr/>
    </dgm:pt>
    <dgm:pt modelId="{81D85317-A657-4963-938D-C84F49AD8D76}" type="pres">
      <dgm:prSet presAssocID="{6927C9D9-71BB-4710-8E42-CF5AF868C613}" presName="compNode" presStyleCnt="0"/>
      <dgm:spPr/>
    </dgm:pt>
    <dgm:pt modelId="{539D81D3-2E1F-41A5-9DBC-807493040BC2}" type="pres">
      <dgm:prSet presAssocID="{6927C9D9-71BB-4710-8E42-CF5AF868C613}" presName="dummyConnPt" presStyleCnt="0"/>
      <dgm:spPr/>
    </dgm:pt>
    <dgm:pt modelId="{6E28368D-7D9C-4855-886E-7307720BFD5F}" type="pres">
      <dgm:prSet presAssocID="{6927C9D9-71BB-4710-8E42-CF5AF868C613}" presName="node" presStyleLbl="node1" presStyleIdx="0" presStyleCnt="9">
        <dgm:presLayoutVars>
          <dgm:bulletEnabled val="1"/>
        </dgm:presLayoutVars>
      </dgm:prSet>
      <dgm:spPr/>
    </dgm:pt>
    <dgm:pt modelId="{F7AB8FA7-D287-443E-9DD6-7D9867B6C517}" type="pres">
      <dgm:prSet presAssocID="{7810F4B0-6F25-46D5-B3F9-509F2EC26E7F}" presName="sibTrans" presStyleLbl="bgSibTrans2D1" presStyleIdx="0" presStyleCnt="8"/>
      <dgm:spPr/>
    </dgm:pt>
    <dgm:pt modelId="{B7F0DF82-9A88-48F0-902A-22B1DAFD9FF1}" type="pres">
      <dgm:prSet presAssocID="{EE8554C4-C3A4-43AE-8D31-CEEE8D8FB1C0}" presName="compNode" presStyleCnt="0"/>
      <dgm:spPr/>
    </dgm:pt>
    <dgm:pt modelId="{08A3E640-2040-4799-9242-8AC6C5401F89}" type="pres">
      <dgm:prSet presAssocID="{EE8554C4-C3A4-43AE-8D31-CEEE8D8FB1C0}" presName="dummyConnPt" presStyleCnt="0"/>
      <dgm:spPr/>
    </dgm:pt>
    <dgm:pt modelId="{249F1157-3738-48D4-9871-88B7DFAF5DAB}" type="pres">
      <dgm:prSet presAssocID="{EE8554C4-C3A4-43AE-8D31-CEEE8D8FB1C0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327F8F-C916-4560-BD11-A3DC8B9D4991}" type="pres">
      <dgm:prSet presAssocID="{14642A5D-A4CA-494C-B05E-488C3E795DCD}" presName="sibTrans" presStyleLbl="bgSibTrans2D1" presStyleIdx="1" presStyleCnt="8"/>
      <dgm:spPr/>
    </dgm:pt>
    <dgm:pt modelId="{F4005A9D-33F7-4F05-85E9-B5FDEFD585B6}" type="pres">
      <dgm:prSet presAssocID="{1CBE1D15-0874-4AA1-A6FD-C794CFDE392E}" presName="compNode" presStyleCnt="0"/>
      <dgm:spPr/>
    </dgm:pt>
    <dgm:pt modelId="{1C618D0C-A42D-4DAF-B413-A5BEFFC54202}" type="pres">
      <dgm:prSet presAssocID="{1CBE1D15-0874-4AA1-A6FD-C794CFDE392E}" presName="dummyConnPt" presStyleCnt="0"/>
      <dgm:spPr/>
    </dgm:pt>
    <dgm:pt modelId="{DF16893F-E6B5-4159-A903-91E2BA85ED76}" type="pres">
      <dgm:prSet presAssocID="{1CBE1D15-0874-4AA1-A6FD-C794CFDE392E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43E9B6-1180-49A1-9BE4-9F8A0890CD85}" type="pres">
      <dgm:prSet presAssocID="{BB138827-E32B-4627-A28F-8AEF78B221EF}" presName="sibTrans" presStyleLbl="bgSibTrans2D1" presStyleIdx="2" presStyleCnt="8"/>
      <dgm:spPr/>
    </dgm:pt>
    <dgm:pt modelId="{DBDED746-41E6-400B-95DE-AB67BBDF3C8B}" type="pres">
      <dgm:prSet presAssocID="{BA8A4787-9A3C-4CAD-A558-F4A6AA0E5540}" presName="compNode" presStyleCnt="0"/>
      <dgm:spPr/>
    </dgm:pt>
    <dgm:pt modelId="{4AA9C417-0D9B-4EA0-B62B-D41A76A7CA68}" type="pres">
      <dgm:prSet presAssocID="{BA8A4787-9A3C-4CAD-A558-F4A6AA0E5540}" presName="dummyConnPt" presStyleCnt="0"/>
      <dgm:spPr/>
    </dgm:pt>
    <dgm:pt modelId="{8F3C0636-F4B7-414E-816F-BE5FAD0A9913}" type="pres">
      <dgm:prSet presAssocID="{BA8A4787-9A3C-4CAD-A558-F4A6AA0E5540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6B0DAC1-B7B8-40D7-8ACE-4A02016CE00E}" type="pres">
      <dgm:prSet presAssocID="{70A3E796-F7F6-4F93-AD01-DF2EEF1D8AEC}" presName="sibTrans" presStyleLbl="bgSibTrans2D1" presStyleIdx="3" presStyleCnt="8"/>
      <dgm:spPr/>
    </dgm:pt>
    <dgm:pt modelId="{1DA669B3-9DAA-4780-B035-CA80BECCCE0C}" type="pres">
      <dgm:prSet presAssocID="{266DB419-ADD5-45E2-B654-B6B044AF9654}" presName="compNode" presStyleCnt="0"/>
      <dgm:spPr/>
    </dgm:pt>
    <dgm:pt modelId="{936FCD29-AAB7-4ECB-B07E-4A17D049E1F9}" type="pres">
      <dgm:prSet presAssocID="{266DB419-ADD5-45E2-B654-B6B044AF9654}" presName="dummyConnPt" presStyleCnt="0"/>
      <dgm:spPr/>
    </dgm:pt>
    <dgm:pt modelId="{C5F23A59-F8E5-45D0-AADB-3D53D1542DDE}" type="pres">
      <dgm:prSet presAssocID="{266DB419-ADD5-45E2-B654-B6B044AF9654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73F201-6AD2-405A-A296-2D9700403B6E}" type="pres">
      <dgm:prSet presAssocID="{FB8A4789-27B1-4673-B18C-99899552B31C}" presName="sibTrans" presStyleLbl="bgSibTrans2D1" presStyleIdx="4" presStyleCnt="8"/>
      <dgm:spPr/>
    </dgm:pt>
    <dgm:pt modelId="{D5EBA6E2-1916-4FA0-A797-C09935D175D0}" type="pres">
      <dgm:prSet presAssocID="{AA76FF9A-D4E8-46B6-A1FD-771238608AF5}" presName="compNode" presStyleCnt="0"/>
      <dgm:spPr/>
    </dgm:pt>
    <dgm:pt modelId="{0F9CA233-144E-4AC8-9C00-5B99DBFB2873}" type="pres">
      <dgm:prSet presAssocID="{AA76FF9A-D4E8-46B6-A1FD-771238608AF5}" presName="dummyConnPt" presStyleCnt="0"/>
      <dgm:spPr/>
    </dgm:pt>
    <dgm:pt modelId="{9D8AAA5C-F827-4EB1-B6CF-CDBAA12F5193}" type="pres">
      <dgm:prSet presAssocID="{AA76FF9A-D4E8-46B6-A1FD-771238608AF5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B2D114D-E09F-4245-84B0-8667EFFB1045}" type="pres">
      <dgm:prSet presAssocID="{CEF4A362-A61D-4B25-B4DB-41C6B90F3B68}" presName="sibTrans" presStyleLbl="bgSibTrans2D1" presStyleIdx="5" presStyleCnt="8"/>
      <dgm:spPr/>
    </dgm:pt>
    <dgm:pt modelId="{1B17F4E8-4A8A-4DC6-9E84-F7150241B070}" type="pres">
      <dgm:prSet presAssocID="{B6F8908D-B373-4DED-A1C8-F82AA4815EB4}" presName="compNode" presStyleCnt="0"/>
      <dgm:spPr/>
    </dgm:pt>
    <dgm:pt modelId="{15BE4FD4-B4F3-4D76-85EA-E3C8A1C35493}" type="pres">
      <dgm:prSet presAssocID="{B6F8908D-B373-4DED-A1C8-F82AA4815EB4}" presName="dummyConnPt" presStyleCnt="0"/>
      <dgm:spPr/>
    </dgm:pt>
    <dgm:pt modelId="{B44D7214-4F3A-4DEB-AA24-1FDD3036BC1B}" type="pres">
      <dgm:prSet presAssocID="{B6F8908D-B373-4DED-A1C8-F82AA4815EB4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2910B71-5D21-4D32-9D19-BE14660A790F}" type="pres">
      <dgm:prSet presAssocID="{650E38B1-EE7E-4711-AB60-A2E5DD90793E}" presName="sibTrans" presStyleLbl="bgSibTrans2D1" presStyleIdx="6" presStyleCnt="8"/>
      <dgm:spPr/>
    </dgm:pt>
    <dgm:pt modelId="{E726BA09-3644-4653-B017-576CE5E4767A}" type="pres">
      <dgm:prSet presAssocID="{18190D7B-1F2E-4A19-9638-BA0F758B3312}" presName="compNode" presStyleCnt="0"/>
      <dgm:spPr/>
    </dgm:pt>
    <dgm:pt modelId="{7E08757F-8D6E-4ED4-A79D-C965F9291D5F}" type="pres">
      <dgm:prSet presAssocID="{18190D7B-1F2E-4A19-9638-BA0F758B3312}" presName="dummyConnPt" presStyleCnt="0"/>
      <dgm:spPr/>
    </dgm:pt>
    <dgm:pt modelId="{F4D0519E-987C-4486-B98A-7B39F53CE9A4}" type="pres">
      <dgm:prSet presAssocID="{18190D7B-1F2E-4A19-9638-BA0F758B3312}" presName="node" presStyleLbl="node1" presStyleIdx="7" presStyleCnt="9">
        <dgm:presLayoutVars>
          <dgm:bulletEnabled val="1"/>
        </dgm:presLayoutVars>
      </dgm:prSet>
      <dgm:spPr/>
    </dgm:pt>
    <dgm:pt modelId="{31E441B1-B78F-4326-9DE4-ACC956892257}" type="pres">
      <dgm:prSet presAssocID="{EFDCFCE2-ACA8-4166-8508-36C4CD1AD49A}" presName="sibTrans" presStyleLbl="bgSibTrans2D1" presStyleIdx="7" presStyleCnt="8"/>
      <dgm:spPr/>
    </dgm:pt>
    <dgm:pt modelId="{5DA37DC6-AAE0-43AD-A665-6A7913697E15}" type="pres">
      <dgm:prSet presAssocID="{14696309-9234-4EC0-B230-12AB373AA31E}" presName="compNode" presStyleCnt="0"/>
      <dgm:spPr/>
    </dgm:pt>
    <dgm:pt modelId="{CABE7EB4-58B5-46DE-B6D4-0BA52E4707C0}" type="pres">
      <dgm:prSet presAssocID="{14696309-9234-4EC0-B230-12AB373AA31E}" presName="dummyConnPt" presStyleCnt="0"/>
      <dgm:spPr/>
    </dgm:pt>
    <dgm:pt modelId="{3FB15939-56DE-4348-B48F-888B3CDB1A88}" type="pres">
      <dgm:prSet presAssocID="{14696309-9234-4EC0-B230-12AB373AA31E}" presName="node" presStyleLbl="node1" presStyleIdx="8" presStyleCnt="9">
        <dgm:presLayoutVars>
          <dgm:bulletEnabled val="1"/>
        </dgm:presLayoutVars>
      </dgm:prSet>
      <dgm:spPr/>
    </dgm:pt>
  </dgm:ptLst>
  <dgm:cxnLst>
    <dgm:cxn modelId="{431FAB21-8980-4A78-999B-AA488D1CB7B3}" srcId="{0CD29E0A-844B-4F5A-90C7-A5D40A1C1D30}" destId="{EE8554C4-C3A4-43AE-8D31-CEEE8D8FB1C0}" srcOrd="1" destOrd="0" parTransId="{AE671F8C-DC17-4E2E-832B-CEFAAC9E8D23}" sibTransId="{14642A5D-A4CA-494C-B05E-488C3E795DCD}"/>
    <dgm:cxn modelId="{D0C6E1D4-9B3C-4506-85FA-1EBB4B01642D}" srcId="{0CD29E0A-844B-4F5A-90C7-A5D40A1C1D30}" destId="{1CBE1D15-0874-4AA1-A6FD-C794CFDE392E}" srcOrd="2" destOrd="0" parTransId="{64BC6419-ACD3-4A5F-8B24-2FFF857E1BC1}" sibTransId="{BB138827-E32B-4627-A28F-8AEF78B221EF}"/>
    <dgm:cxn modelId="{15256630-37BD-4CC1-B5C5-38270696F463}" type="presOf" srcId="{EE8554C4-C3A4-43AE-8D31-CEEE8D8FB1C0}" destId="{249F1157-3738-48D4-9871-88B7DFAF5DAB}" srcOrd="0" destOrd="0" presId="urn:microsoft.com/office/officeart/2005/8/layout/bProcess4"/>
    <dgm:cxn modelId="{731E86B0-497D-48A4-911B-92D97C482EA9}" type="presOf" srcId="{18190D7B-1F2E-4A19-9638-BA0F758B3312}" destId="{F4D0519E-987C-4486-B98A-7B39F53CE9A4}" srcOrd="0" destOrd="0" presId="urn:microsoft.com/office/officeart/2005/8/layout/bProcess4"/>
    <dgm:cxn modelId="{2DAC4E9C-ED97-46A7-9065-EDA5FD821034}" srcId="{0CD29E0A-844B-4F5A-90C7-A5D40A1C1D30}" destId="{BA8A4787-9A3C-4CAD-A558-F4A6AA0E5540}" srcOrd="3" destOrd="0" parTransId="{333E438C-991B-4423-9CB2-DBC0B7DCADD9}" sibTransId="{70A3E796-F7F6-4F93-AD01-DF2EEF1D8AEC}"/>
    <dgm:cxn modelId="{0AFC8A31-8FD5-423E-843D-CD776BE1C034}" type="presOf" srcId="{14642A5D-A4CA-494C-B05E-488C3E795DCD}" destId="{02327F8F-C916-4560-BD11-A3DC8B9D4991}" srcOrd="0" destOrd="0" presId="urn:microsoft.com/office/officeart/2005/8/layout/bProcess4"/>
    <dgm:cxn modelId="{0FF2FB00-7F10-4A30-91A6-7482557F2B96}" srcId="{0CD29E0A-844B-4F5A-90C7-A5D40A1C1D30}" destId="{14696309-9234-4EC0-B230-12AB373AA31E}" srcOrd="8" destOrd="0" parTransId="{6786DB49-36BB-4A24-84CE-A36D73E4556E}" sibTransId="{1325BE16-3C29-4338-A698-87D005B5A66D}"/>
    <dgm:cxn modelId="{D4743BAB-36C3-4149-A594-7B20B28FB2D2}" type="presOf" srcId="{14696309-9234-4EC0-B230-12AB373AA31E}" destId="{3FB15939-56DE-4348-B48F-888B3CDB1A88}" srcOrd="0" destOrd="0" presId="urn:microsoft.com/office/officeart/2005/8/layout/bProcess4"/>
    <dgm:cxn modelId="{DE1C02B3-0A1E-4A84-A97F-661C092AB3A4}" srcId="{0CD29E0A-844B-4F5A-90C7-A5D40A1C1D30}" destId="{AA76FF9A-D4E8-46B6-A1FD-771238608AF5}" srcOrd="5" destOrd="0" parTransId="{72B8D090-E019-445B-963D-5F9A1E595367}" sibTransId="{CEF4A362-A61D-4B25-B4DB-41C6B90F3B68}"/>
    <dgm:cxn modelId="{10D81899-7319-438A-B76D-D863221C4D08}" type="presOf" srcId="{266DB419-ADD5-45E2-B654-B6B044AF9654}" destId="{C5F23A59-F8E5-45D0-AADB-3D53D1542DDE}" srcOrd="0" destOrd="0" presId="urn:microsoft.com/office/officeart/2005/8/layout/bProcess4"/>
    <dgm:cxn modelId="{899EBC38-1CE0-426C-B168-247D4F502B0E}" type="presOf" srcId="{AA76FF9A-D4E8-46B6-A1FD-771238608AF5}" destId="{9D8AAA5C-F827-4EB1-B6CF-CDBAA12F5193}" srcOrd="0" destOrd="0" presId="urn:microsoft.com/office/officeart/2005/8/layout/bProcess4"/>
    <dgm:cxn modelId="{FD426409-54C5-41B3-8113-215764446313}" type="presOf" srcId="{BA8A4787-9A3C-4CAD-A558-F4A6AA0E5540}" destId="{8F3C0636-F4B7-414E-816F-BE5FAD0A9913}" srcOrd="0" destOrd="0" presId="urn:microsoft.com/office/officeart/2005/8/layout/bProcess4"/>
    <dgm:cxn modelId="{50F445CF-7C20-4E2E-89AB-EED837034511}" srcId="{0CD29E0A-844B-4F5A-90C7-A5D40A1C1D30}" destId="{B6F8908D-B373-4DED-A1C8-F82AA4815EB4}" srcOrd="6" destOrd="0" parTransId="{50A04344-7B55-4EEE-8E1B-C52391664748}" sibTransId="{650E38B1-EE7E-4711-AB60-A2E5DD90793E}"/>
    <dgm:cxn modelId="{CCDBBE41-EF39-4013-AF50-5A182E66AB0E}" type="presOf" srcId="{B6F8908D-B373-4DED-A1C8-F82AA4815EB4}" destId="{B44D7214-4F3A-4DEB-AA24-1FDD3036BC1B}" srcOrd="0" destOrd="0" presId="urn:microsoft.com/office/officeart/2005/8/layout/bProcess4"/>
    <dgm:cxn modelId="{08DDE13F-EA21-4427-A1E5-CF5A3AC20F63}" type="presOf" srcId="{7810F4B0-6F25-46D5-B3F9-509F2EC26E7F}" destId="{F7AB8FA7-D287-443E-9DD6-7D9867B6C517}" srcOrd="0" destOrd="0" presId="urn:microsoft.com/office/officeart/2005/8/layout/bProcess4"/>
    <dgm:cxn modelId="{F2808BFC-89EC-4C72-B81C-315E0B4FD5C3}" srcId="{0CD29E0A-844B-4F5A-90C7-A5D40A1C1D30}" destId="{266DB419-ADD5-45E2-B654-B6B044AF9654}" srcOrd="4" destOrd="0" parTransId="{E8CBBE93-C8DD-4488-B527-14A62C9FB1A9}" sibTransId="{FB8A4789-27B1-4673-B18C-99899552B31C}"/>
    <dgm:cxn modelId="{6E7EDD2F-F862-492E-8786-316B2DD3285A}" type="presOf" srcId="{70A3E796-F7F6-4F93-AD01-DF2EEF1D8AEC}" destId="{B6B0DAC1-B7B8-40D7-8ACE-4A02016CE00E}" srcOrd="0" destOrd="0" presId="urn:microsoft.com/office/officeart/2005/8/layout/bProcess4"/>
    <dgm:cxn modelId="{99EE308B-5ED4-497E-80FB-ECA99EF14845}" type="presOf" srcId="{FB8A4789-27B1-4673-B18C-99899552B31C}" destId="{AB73F201-6AD2-405A-A296-2D9700403B6E}" srcOrd="0" destOrd="0" presId="urn:microsoft.com/office/officeart/2005/8/layout/bProcess4"/>
    <dgm:cxn modelId="{BA8A0EB5-065E-4BDD-80EC-CCD59CDFDBE1}" type="presOf" srcId="{CEF4A362-A61D-4B25-B4DB-41C6B90F3B68}" destId="{1B2D114D-E09F-4245-84B0-8667EFFB1045}" srcOrd="0" destOrd="0" presId="urn:microsoft.com/office/officeart/2005/8/layout/bProcess4"/>
    <dgm:cxn modelId="{2ABEE6C8-B379-401E-A5ED-FBC865968F28}" type="presOf" srcId="{650E38B1-EE7E-4711-AB60-A2E5DD90793E}" destId="{62910B71-5D21-4D32-9D19-BE14660A790F}" srcOrd="0" destOrd="0" presId="urn:microsoft.com/office/officeart/2005/8/layout/bProcess4"/>
    <dgm:cxn modelId="{A06DD603-22E6-40A0-85BF-B9509219BF42}" type="presOf" srcId="{6927C9D9-71BB-4710-8E42-CF5AF868C613}" destId="{6E28368D-7D9C-4855-886E-7307720BFD5F}" srcOrd="0" destOrd="0" presId="urn:microsoft.com/office/officeart/2005/8/layout/bProcess4"/>
    <dgm:cxn modelId="{8E8F99C7-C22C-401C-914B-3923E2BD9774}" srcId="{0CD29E0A-844B-4F5A-90C7-A5D40A1C1D30}" destId="{18190D7B-1F2E-4A19-9638-BA0F758B3312}" srcOrd="7" destOrd="0" parTransId="{888A6CC8-070E-40DC-B658-4A0B0A358B31}" sibTransId="{EFDCFCE2-ACA8-4166-8508-36C4CD1AD49A}"/>
    <dgm:cxn modelId="{DC73DC0F-2405-4F62-A3DA-3CB4FAC19059}" type="presOf" srcId="{BB138827-E32B-4627-A28F-8AEF78B221EF}" destId="{9943E9B6-1180-49A1-9BE4-9F8A0890CD85}" srcOrd="0" destOrd="0" presId="urn:microsoft.com/office/officeart/2005/8/layout/bProcess4"/>
    <dgm:cxn modelId="{2C116C7D-B0D6-451B-BCBD-DFD5A021830E}" type="presOf" srcId="{1CBE1D15-0874-4AA1-A6FD-C794CFDE392E}" destId="{DF16893F-E6B5-4159-A903-91E2BA85ED76}" srcOrd="0" destOrd="0" presId="urn:microsoft.com/office/officeart/2005/8/layout/bProcess4"/>
    <dgm:cxn modelId="{B50D4A0E-FE78-4FF0-86A2-9E37123F9824}" type="presOf" srcId="{0CD29E0A-844B-4F5A-90C7-A5D40A1C1D30}" destId="{4B00A3B8-0B4D-4A82-B099-9F3A8285D1E1}" srcOrd="0" destOrd="0" presId="urn:microsoft.com/office/officeart/2005/8/layout/bProcess4"/>
    <dgm:cxn modelId="{03BFA93A-6044-4B2A-AB3C-66BCF5BA3DC8}" type="presOf" srcId="{EFDCFCE2-ACA8-4166-8508-36C4CD1AD49A}" destId="{31E441B1-B78F-4326-9DE4-ACC956892257}" srcOrd="0" destOrd="0" presId="urn:microsoft.com/office/officeart/2005/8/layout/bProcess4"/>
    <dgm:cxn modelId="{53E970AE-305A-4694-88C5-3362C900147E}" srcId="{0CD29E0A-844B-4F5A-90C7-A5D40A1C1D30}" destId="{6927C9D9-71BB-4710-8E42-CF5AF868C613}" srcOrd="0" destOrd="0" parTransId="{6ADE6114-B3F5-4D5C-A87D-D6D104F220BC}" sibTransId="{7810F4B0-6F25-46D5-B3F9-509F2EC26E7F}"/>
    <dgm:cxn modelId="{18CB4EF2-39E7-45D6-BAC7-1A18561A2131}" type="presParOf" srcId="{4B00A3B8-0B4D-4A82-B099-9F3A8285D1E1}" destId="{81D85317-A657-4963-938D-C84F49AD8D76}" srcOrd="0" destOrd="0" presId="urn:microsoft.com/office/officeart/2005/8/layout/bProcess4"/>
    <dgm:cxn modelId="{998BEA21-7432-40A2-A95C-5FAC9F683DF6}" type="presParOf" srcId="{81D85317-A657-4963-938D-C84F49AD8D76}" destId="{539D81D3-2E1F-41A5-9DBC-807493040BC2}" srcOrd="0" destOrd="0" presId="urn:microsoft.com/office/officeart/2005/8/layout/bProcess4"/>
    <dgm:cxn modelId="{812707AB-F190-4C03-9BF1-2E4770E2C26A}" type="presParOf" srcId="{81D85317-A657-4963-938D-C84F49AD8D76}" destId="{6E28368D-7D9C-4855-886E-7307720BFD5F}" srcOrd="1" destOrd="0" presId="urn:microsoft.com/office/officeart/2005/8/layout/bProcess4"/>
    <dgm:cxn modelId="{B3961965-1A26-4532-B464-3CDB352CE99C}" type="presParOf" srcId="{4B00A3B8-0B4D-4A82-B099-9F3A8285D1E1}" destId="{F7AB8FA7-D287-443E-9DD6-7D9867B6C517}" srcOrd="1" destOrd="0" presId="urn:microsoft.com/office/officeart/2005/8/layout/bProcess4"/>
    <dgm:cxn modelId="{BB6CF747-DAAB-445D-9048-B46E22B47E96}" type="presParOf" srcId="{4B00A3B8-0B4D-4A82-B099-9F3A8285D1E1}" destId="{B7F0DF82-9A88-48F0-902A-22B1DAFD9FF1}" srcOrd="2" destOrd="0" presId="urn:microsoft.com/office/officeart/2005/8/layout/bProcess4"/>
    <dgm:cxn modelId="{0CD0EE56-C838-4532-82AB-8FDA153BA3E1}" type="presParOf" srcId="{B7F0DF82-9A88-48F0-902A-22B1DAFD9FF1}" destId="{08A3E640-2040-4799-9242-8AC6C5401F89}" srcOrd="0" destOrd="0" presId="urn:microsoft.com/office/officeart/2005/8/layout/bProcess4"/>
    <dgm:cxn modelId="{6DD05E78-46EE-42D6-9F69-4076B1186308}" type="presParOf" srcId="{B7F0DF82-9A88-48F0-902A-22B1DAFD9FF1}" destId="{249F1157-3738-48D4-9871-88B7DFAF5DAB}" srcOrd="1" destOrd="0" presId="urn:microsoft.com/office/officeart/2005/8/layout/bProcess4"/>
    <dgm:cxn modelId="{2F2C0021-1ADA-47A6-B298-AEDF6749F1AF}" type="presParOf" srcId="{4B00A3B8-0B4D-4A82-B099-9F3A8285D1E1}" destId="{02327F8F-C916-4560-BD11-A3DC8B9D4991}" srcOrd="3" destOrd="0" presId="urn:microsoft.com/office/officeart/2005/8/layout/bProcess4"/>
    <dgm:cxn modelId="{C0CC2D50-7222-49EB-AC79-EA839B82D152}" type="presParOf" srcId="{4B00A3B8-0B4D-4A82-B099-9F3A8285D1E1}" destId="{F4005A9D-33F7-4F05-85E9-B5FDEFD585B6}" srcOrd="4" destOrd="0" presId="urn:microsoft.com/office/officeart/2005/8/layout/bProcess4"/>
    <dgm:cxn modelId="{B0D3B478-4395-44D3-A62B-E89B87280469}" type="presParOf" srcId="{F4005A9D-33F7-4F05-85E9-B5FDEFD585B6}" destId="{1C618D0C-A42D-4DAF-B413-A5BEFFC54202}" srcOrd="0" destOrd="0" presId="urn:microsoft.com/office/officeart/2005/8/layout/bProcess4"/>
    <dgm:cxn modelId="{F20ADB27-15C5-48C1-B343-F4B22F241461}" type="presParOf" srcId="{F4005A9D-33F7-4F05-85E9-B5FDEFD585B6}" destId="{DF16893F-E6B5-4159-A903-91E2BA85ED76}" srcOrd="1" destOrd="0" presId="urn:microsoft.com/office/officeart/2005/8/layout/bProcess4"/>
    <dgm:cxn modelId="{CCF39F32-78CC-4C94-B22B-479D9DD07250}" type="presParOf" srcId="{4B00A3B8-0B4D-4A82-B099-9F3A8285D1E1}" destId="{9943E9B6-1180-49A1-9BE4-9F8A0890CD85}" srcOrd="5" destOrd="0" presId="urn:microsoft.com/office/officeart/2005/8/layout/bProcess4"/>
    <dgm:cxn modelId="{332D4787-20E2-433E-BDBE-99F7C75769F8}" type="presParOf" srcId="{4B00A3B8-0B4D-4A82-B099-9F3A8285D1E1}" destId="{DBDED746-41E6-400B-95DE-AB67BBDF3C8B}" srcOrd="6" destOrd="0" presId="urn:microsoft.com/office/officeart/2005/8/layout/bProcess4"/>
    <dgm:cxn modelId="{D4EFC648-B35A-4A99-A5E5-1867102D37E9}" type="presParOf" srcId="{DBDED746-41E6-400B-95DE-AB67BBDF3C8B}" destId="{4AA9C417-0D9B-4EA0-B62B-D41A76A7CA68}" srcOrd="0" destOrd="0" presId="urn:microsoft.com/office/officeart/2005/8/layout/bProcess4"/>
    <dgm:cxn modelId="{08DFE8F4-A567-4E7E-8CBC-382B14E0046E}" type="presParOf" srcId="{DBDED746-41E6-400B-95DE-AB67BBDF3C8B}" destId="{8F3C0636-F4B7-414E-816F-BE5FAD0A9913}" srcOrd="1" destOrd="0" presId="urn:microsoft.com/office/officeart/2005/8/layout/bProcess4"/>
    <dgm:cxn modelId="{B0819551-CBA5-4312-82E6-1ABF4802922C}" type="presParOf" srcId="{4B00A3B8-0B4D-4A82-B099-9F3A8285D1E1}" destId="{B6B0DAC1-B7B8-40D7-8ACE-4A02016CE00E}" srcOrd="7" destOrd="0" presId="urn:microsoft.com/office/officeart/2005/8/layout/bProcess4"/>
    <dgm:cxn modelId="{D0292164-544B-43A2-932B-C938B2C32923}" type="presParOf" srcId="{4B00A3B8-0B4D-4A82-B099-9F3A8285D1E1}" destId="{1DA669B3-9DAA-4780-B035-CA80BECCCE0C}" srcOrd="8" destOrd="0" presId="urn:microsoft.com/office/officeart/2005/8/layout/bProcess4"/>
    <dgm:cxn modelId="{7D7A66AE-4289-4266-8B2E-E3B80730D965}" type="presParOf" srcId="{1DA669B3-9DAA-4780-B035-CA80BECCCE0C}" destId="{936FCD29-AAB7-4ECB-B07E-4A17D049E1F9}" srcOrd="0" destOrd="0" presId="urn:microsoft.com/office/officeart/2005/8/layout/bProcess4"/>
    <dgm:cxn modelId="{F146673E-5594-4C4A-A0A5-EA8502E92F05}" type="presParOf" srcId="{1DA669B3-9DAA-4780-B035-CA80BECCCE0C}" destId="{C5F23A59-F8E5-45D0-AADB-3D53D1542DDE}" srcOrd="1" destOrd="0" presId="urn:microsoft.com/office/officeart/2005/8/layout/bProcess4"/>
    <dgm:cxn modelId="{7222A6DC-E1DC-4E68-B579-8FBBEB4F9A3F}" type="presParOf" srcId="{4B00A3B8-0B4D-4A82-B099-9F3A8285D1E1}" destId="{AB73F201-6AD2-405A-A296-2D9700403B6E}" srcOrd="9" destOrd="0" presId="urn:microsoft.com/office/officeart/2005/8/layout/bProcess4"/>
    <dgm:cxn modelId="{59363908-DF07-41B8-B589-75422ED199A3}" type="presParOf" srcId="{4B00A3B8-0B4D-4A82-B099-9F3A8285D1E1}" destId="{D5EBA6E2-1916-4FA0-A797-C09935D175D0}" srcOrd="10" destOrd="0" presId="urn:microsoft.com/office/officeart/2005/8/layout/bProcess4"/>
    <dgm:cxn modelId="{432A00C1-4C4F-4A13-9FA8-7F1329EE2BDC}" type="presParOf" srcId="{D5EBA6E2-1916-4FA0-A797-C09935D175D0}" destId="{0F9CA233-144E-4AC8-9C00-5B99DBFB2873}" srcOrd="0" destOrd="0" presId="urn:microsoft.com/office/officeart/2005/8/layout/bProcess4"/>
    <dgm:cxn modelId="{EC68290D-57C2-45AD-BD25-D80330D16574}" type="presParOf" srcId="{D5EBA6E2-1916-4FA0-A797-C09935D175D0}" destId="{9D8AAA5C-F827-4EB1-B6CF-CDBAA12F5193}" srcOrd="1" destOrd="0" presId="urn:microsoft.com/office/officeart/2005/8/layout/bProcess4"/>
    <dgm:cxn modelId="{28FE6DD9-9081-44FF-A88E-4E3ABBD24B04}" type="presParOf" srcId="{4B00A3B8-0B4D-4A82-B099-9F3A8285D1E1}" destId="{1B2D114D-E09F-4245-84B0-8667EFFB1045}" srcOrd="11" destOrd="0" presId="urn:microsoft.com/office/officeart/2005/8/layout/bProcess4"/>
    <dgm:cxn modelId="{9F015873-E83E-467B-8A9F-B23A28713DB2}" type="presParOf" srcId="{4B00A3B8-0B4D-4A82-B099-9F3A8285D1E1}" destId="{1B17F4E8-4A8A-4DC6-9E84-F7150241B070}" srcOrd="12" destOrd="0" presId="urn:microsoft.com/office/officeart/2005/8/layout/bProcess4"/>
    <dgm:cxn modelId="{2365A24A-17CA-489D-96C9-1D582A41A030}" type="presParOf" srcId="{1B17F4E8-4A8A-4DC6-9E84-F7150241B070}" destId="{15BE4FD4-B4F3-4D76-85EA-E3C8A1C35493}" srcOrd="0" destOrd="0" presId="urn:microsoft.com/office/officeart/2005/8/layout/bProcess4"/>
    <dgm:cxn modelId="{BE5A723C-4B86-4ECC-93A7-8913B66B3ED4}" type="presParOf" srcId="{1B17F4E8-4A8A-4DC6-9E84-F7150241B070}" destId="{B44D7214-4F3A-4DEB-AA24-1FDD3036BC1B}" srcOrd="1" destOrd="0" presId="urn:microsoft.com/office/officeart/2005/8/layout/bProcess4"/>
    <dgm:cxn modelId="{29482AE6-4619-40B5-93B5-5B142669F352}" type="presParOf" srcId="{4B00A3B8-0B4D-4A82-B099-9F3A8285D1E1}" destId="{62910B71-5D21-4D32-9D19-BE14660A790F}" srcOrd="13" destOrd="0" presId="urn:microsoft.com/office/officeart/2005/8/layout/bProcess4"/>
    <dgm:cxn modelId="{6A92645B-CB71-4E8F-BC7E-D0EE9FFFAA39}" type="presParOf" srcId="{4B00A3B8-0B4D-4A82-B099-9F3A8285D1E1}" destId="{E726BA09-3644-4653-B017-576CE5E4767A}" srcOrd="14" destOrd="0" presId="urn:microsoft.com/office/officeart/2005/8/layout/bProcess4"/>
    <dgm:cxn modelId="{09A4FBD5-30CF-4BA9-BDF0-8A97E2FFDA96}" type="presParOf" srcId="{E726BA09-3644-4653-B017-576CE5E4767A}" destId="{7E08757F-8D6E-4ED4-A79D-C965F9291D5F}" srcOrd="0" destOrd="0" presId="urn:microsoft.com/office/officeart/2005/8/layout/bProcess4"/>
    <dgm:cxn modelId="{EDF3D8D0-46E6-4808-B71E-117AFB657191}" type="presParOf" srcId="{E726BA09-3644-4653-B017-576CE5E4767A}" destId="{F4D0519E-987C-4486-B98A-7B39F53CE9A4}" srcOrd="1" destOrd="0" presId="urn:microsoft.com/office/officeart/2005/8/layout/bProcess4"/>
    <dgm:cxn modelId="{37752AD9-FE83-40CF-8867-30FDFCE22D09}" type="presParOf" srcId="{4B00A3B8-0B4D-4A82-B099-9F3A8285D1E1}" destId="{31E441B1-B78F-4326-9DE4-ACC956892257}" srcOrd="15" destOrd="0" presId="urn:microsoft.com/office/officeart/2005/8/layout/bProcess4"/>
    <dgm:cxn modelId="{6F2550F1-EF97-43B2-9A8D-12F1566A22FB}" type="presParOf" srcId="{4B00A3B8-0B4D-4A82-B099-9F3A8285D1E1}" destId="{5DA37DC6-AAE0-43AD-A665-6A7913697E15}" srcOrd="16" destOrd="0" presId="urn:microsoft.com/office/officeart/2005/8/layout/bProcess4"/>
    <dgm:cxn modelId="{96AD67A1-E6EC-4F91-9271-0AF2F66E0FA8}" type="presParOf" srcId="{5DA37DC6-AAE0-43AD-A665-6A7913697E15}" destId="{CABE7EB4-58B5-46DE-B6D4-0BA52E4707C0}" srcOrd="0" destOrd="0" presId="urn:microsoft.com/office/officeart/2005/8/layout/bProcess4"/>
    <dgm:cxn modelId="{56B1C164-E2A4-4A0B-AA85-8DE3DFDC4653}" type="presParOf" srcId="{5DA37DC6-AAE0-43AD-A665-6A7913697E15}" destId="{3FB15939-56DE-4348-B48F-888B3CDB1A88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830961-30FD-4662-ABCB-019E89ADB651}">
      <dsp:nvSpPr>
        <dsp:cNvPr id="0" name=""/>
        <dsp:cNvSpPr/>
      </dsp:nvSpPr>
      <dsp:spPr>
        <a:xfrm>
          <a:off x="2582459" y="0"/>
          <a:ext cx="2555171" cy="2555560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AE2DC4-63CC-4704-8E0D-795A0B31C0FE}">
      <dsp:nvSpPr>
        <dsp:cNvPr id="0" name=""/>
        <dsp:cNvSpPr/>
      </dsp:nvSpPr>
      <dsp:spPr>
        <a:xfrm>
          <a:off x="3147236" y="922634"/>
          <a:ext cx="1419859" cy="7097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Founders</a:t>
          </a:r>
          <a:endParaRPr lang="en-US" sz="2700" kern="1200" dirty="0"/>
        </a:p>
      </dsp:txBody>
      <dsp:txXfrm>
        <a:off x="3147236" y="922634"/>
        <a:ext cx="1419859" cy="709759"/>
      </dsp:txXfrm>
    </dsp:sp>
    <dsp:sp modelId="{A6C9F4AB-9D65-47BD-9F37-BFA12562ED4F}">
      <dsp:nvSpPr>
        <dsp:cNvPr id="0" name=""/>
        <dsp:cNvSpPr/>
      </dsp:nvSpPr>
      <dsp:spPr>
        <a:xfrm>
          <a:off x="1872769" y="1468358"/>
          <a:ext cx="2555171" cy="2555560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EA922D-A3D0-452D-8C9B-7B8A12FD0691}">
      <dsp:nvSpPr>
        <dsp:cNvPr id="0" name=""/>
        <dsp:cNvSpPr/>
      </dsp:nvSpPr>
      <dsp:spPr>
        <a:xfrm>
          <a:off x="2440425" y="2399487"/>
          <a:ext cx="1419859" cy="7097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estors</a:t>
          </a:r>
          <a:endParaRPr lang="en-US" sz="2700" kern="1200" dirty="0"/>
        </a:p>
      </dsp:txBody>
      <dsp:txXfrm>
        <a:off x="2440425" y="2399487"/>
        <a:ext cx="1419859" cy="709759"/>
      </dsp:txXfrm>
    </dsp:sp>
    <dsp:sp modelId="{B9B71565-E178-4101-B751-D65A117C636E}">
      <dsp:nvSpPr>
        <dsp:cNvPr id="0" name=""/>
        <dsp:cNvSpPr/>
      </dsp:nvSpPr>
      <dsp:spPr>
        <a:xfrm>
          <a:off x="2764320" y="3112432"/>
          <a:ext cx="2195287" cy="2196167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0D8E56-9A0D-4BB6-AB2D-D5FCC559A3BF}">
      <dsp:nvSpPr>
        <dsp:cNvPr id="0" name=""/>
        <dsp:cNvSpPr/>
      </dsp:nvSpPr>
      <dsp:spPr>
        <a:xfrm>
          <a:off x="3150595" y="3878463"/>
          <a:ext cx="1419859" cy="7097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Users</a:t>
          </a:r>
          <a:endParaRPr lang="en-US" sz="2700" kern="1200" dirty="0"/>
        </a:p>
      </dsp:txBody>
      <dsp:txXfrm>
        <a:off x="3150595" y="3878463"/>
        <a:ext cx="1419859" cy="70975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868587-C968-4EF8-9433-03DAD4C3BBCA}">
      <dsp:nvSpPr>
        <dsp:cNvPr id="0" name=""/>
        <dsp:cNvSpPr/>
      </dsp:nvSpPr>
      <dsp:spPr>
        <a:xfrm rot="17921381">
          <a:off x="460913" y="1570413"/>
          <a:ext cx="2987827" cy="2126798"/>
        </a:xfrm>
        <a:prstGeom prst="swooshArrow">
          <a:avLst>
            <a:gd name="adj1" fmla="val 16310"/>
            <a:gd name="adj2" fmla="val 313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20F54B-5B11-4F17-A226-990E3E48FFB9}">
      <dsp:nvSpPr>
        <dsp:cNvPr id="0" name=""/>
        <dsp:cNvSpPr/>
      </dsp:nvSpPr>
      <dsp:spPr>
        <a:xfrm>
          <a:off x="0" y="389274"/>
          <a:ext cx="2222627" cy="873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b" anchorCtr="0">
          <a:noAutofit/>
        </a:bodyPr>
        <a:lstStyle/>
        <a:p>
          <a:pPr lvl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600" kern="1200" dirty="0"/>
        </a:p>
      </dsp:txBody>
      <dsp:txXfrm>
        <a:off x="0" y="389274"/>
        <a:ext cx="2222627" cy="87376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E476A7-3FEB-489A-88B0-999EF4E080D4}">
      <dsp:nvSpPr>
        <dsp:cNvPr id="0" name=""/>
        <dsp:cNvSpPr/>
      </dsp:nvSpPr>
      <dsp:spPr>
        <a:xfrm>
          <a:off x="0" y="228623"/>
          <a:ext cx="8382000" cy="5238750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89ED55D-9210-4586-ADBA-5E51955A1805}">
      <dsp:nvSpPr>
        <dsp:cNvPr id="0" name=""/>
        <dsp:cNvSpPr/>
      </dsp:nvSpPr>
      <dsp:spPr>
        <a:xfrm>
          <a:off x="825627" y="4362259"/>
          <a:ext cx="192786" cy="19278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A76F9B-946E-4CD5-ADAE-75B410B00CCC}">
      <dsp:nvSpPr>
        <dsp:cNvPr id="0" name=""/>
        <dsp:cNvSpPr/>
      </dsp:nvSpPr>
      <dsp:spPr>
        <a:xfrm>
          <a:off x="6" y="2819405"/>
          <a:ext cx="1433322" cy="12468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153" tIns="0" rIns="0" bIns="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Mix and match to </a:t>
          </a:r>
          <a:r>
            <a:rPr lang="en-US" sz="1900" b="1" kern="1200" dirty="0" smtClean="0"/>
            <a:t>optimize</a:t>
          </a:r>
          <a:r>
            <a:rPr lang="en-US" sz="1900" kern="1200" dirty="0" smtClean="0"/>
            <a:t> founder’s terms</a:t>
          </a:r>
          <a:endParaRPr lang="en-US" sz="1900" kern="1200" dirty="0"/>
        </a:p>
      </dsp:txBody>
      <dsp:txXfrm>
        <a:off x="6" y="2819405"/>
        <a:ext cx="1433322" cy="1246822"/>
      </dsp:txXfrm>
    </dsp:sp>
    <dsp:sp modelId="{F943D648-910D-4DFF-B891-3EC30010240D}">
      <dsp:nvSpPr>
        <dsp:cNvPr id="0" name=""/>
        <dsp:cNvSpPr/>
      </dsp:nvSpPr>
      <dsp:spPr>
        <a:xfrm>
          <a:off x="2187702" y="3143726"/>
          <a:ext cx="335280" cy="33528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090C8F-67F2-40FD-B525-DDDD9A93658C}">
      <dsp:nvSpPr>
        <dsp:cNvPr id="0" name=""/>
        <dsp:cNvSpPr/>
      </dsp:nvSpPr>
      <dsp:spPr>
        <a:xfrm>
          <a:off x="1828807" y="3733794"/>
          <a:ext cx="1760220" cy="19105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658" tIns="0" rIns="0" bIns="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Choose</a:t>
          </a:r>
          <a:r>
            <a:rPr lang="en-US" sz="1900" kern="1200" dirty="0" smtClean="0"/>
            <a:t> the best form of business association </a:t>
          </a:r>
          <a:endParaRPr lang="en-US" sz="1900" kern="1200" dirty="0"/>
        </a:p>
      </dsp:txBody>
      <dsp:txXfrm>
        <a:off x="1828807" y="3733794"/>
        <a:ext cx="1760220" cy="1910522"/>
      </dsp:txXfrm>
    </dsp:sp>
    <dsp:sp modelId="{3029F1DF-0670-421B-B796-B256440B1401}">
      <dsp:nvSpPr>
        <dsp:cNvPr id="0" name=""/>
        <dsp:cNvSpPr/>
      </dsp:nvSpPr>
      <dsp:spPr>
        <a:xfrm>
          <a:off x="3926967" y="2245804"/>
          <a:ext cx="444246" cy="44424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149A7E-BD17-4A34-ACD3-8BFBAB114421}">
      <dsp:nvSpPr>
        <dsp:cNvPr id="0" name=""/>
        <dsp:cNvSpPr/>
      </dsp:nvSpPr>
      <dsp:spPr>
        <a:xfrm>
          <a:off x="2286002" y="533395"/>
          <a:ext cx="1760220" cy="32375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5397" tIns="0" rIns="0" bIns="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Create the terms of use allowing the start up to </a:t>
          </a:r>
          <a:r>
            <a:rPr lang="en-US" sz="1900" b="1" kern="1200" dirty="0" smtClean="0"/>
            <a:t>START UP</a:t>
          </a:r>
          <a:r>
            <a:rPr lang="en-US" sz="1900" kern="1200" dirty="0" smtClean="0"/>
            <a:t> in a single day</a:t>
          </a:r>
          <a:endParaRPr lang="en-US" sz="1900" kern="1200" dirty="0"/>
        </a:p>
      </dsp:txBody>
      <dsp:txXfrm>
        <a:off x="2286002" y="533395"/>
        <a:ext cx="1760220" cy="3237547"/>
      </dsp:txXfrm>
    </dsp:sp>
    <dsp:sp modelId="{DF45BB59-889E-4167-B241-F2DD6C405CC6}">
      <dsp:nvSpPr>
        <dsp:cNvPr id="0" name=""/>
        <dsp:cNvSpPr/>
      </dsp:nvSpPr>
      <dsp:spPr>
        <a:xfrm>
          <a:off x="5821299" y="1651730"/>
          <a:ext cx="595122" cy="59512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BA6D95-2417-4BD1-82EB-D4DE4EF002F5}">
      <dsp:nvSpPr>
        <dsp:cNvPr id="0" name=""/>
        <dsp:cNvSpPr/>
      </dsp:nvSpPr>
      <dsp:spPr>
        <a:xfrm>
          <a:off x="5722335" y="2360743"/>
          <a:ext cx="1760220" cy="37561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5343" tIns="0" rIns="0" bIns="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Analyze</a:t>
          </a:r>
          <a:r>
            <a:rPr lang="en-US" sz="1900" kern="1200" dirty="0" smtClean="0"/>
            <a:t>, </a:t>
          </a:r>
          <a:r>
            <a:rPr lang="en-US" sz="1900" b="1" kern="1200" dirty="0" smtClean="0"/>
            <a:t>invest</a:t>
          </a:r>
          <a:r>
            <a:rPr lang="en-US" sz="1900" kern="1200" dirty="0" smtClean="0"/>
            <a:t>, and </a:t>
          </a:r>
          <a:r>
            <a:rPr lang="en-US" sz="1900" b="1" kern="1200" dirty="0" smtClean="0"/>
            <a:t>dynamically</a:t>
          </a:r>
          <a:r>
            <a:rPr lang="en-US" sz="1900" kern="1200" dirty="0" smtClean="0"/>
            <a:t> update ownership and organization as the business evolves through rounds of traditional financing and </a:t>
          </a:r>
          <a:r>
            <a:rPr lang="en-US" sz="1900" b="1" kern="1200" dirty="0" smtClean="0"/>
            <a:t>crowd funding</a:t>
          </a:r>
          <a:endParaRPr lang="en-US" sz="1900" b="1" kern="1200" dirty="0"/>
        </a:p>
      </dsp:txBody>
      <dsp:txXfrm>
        <a:off x="5722335" y="2360743"/>
        <a:ext cx="1760220" cy="375618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AB8FA7-D287-443E-9DD6-7D9867B6C517}">
      <dsp:nvSpPr>
        <dsp:cNvPr id="0" name=""/>
        <dsp:cNvSpPr/>
      </dsp:nvSpPr>
      <dsp:spPr>
        <a:xfrm rot="5400000">
          <a:off x="-400739" y="1308556"/>
          <a:ext cx="1768465" cy="213394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28368D-7D9C-4855-886E-7307720BFD5F}">
      <dsp:nvSpPr>
        <dsp:cNvPr id="0" name=""/>
        <dsp:cNvSpPr/>
      </dsp:nvSpPr>
      <dsp:spPr>
        <a:xfrm>
          <a:off x="4368" y="177391"/>
          <a:ext cx="2371055" cy="142263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Lower startup legal fees</a:t>
          </a:r>
          <a:endParaRPr lang="en-US" sz="2700" kern="1200" dirty="0"/>
        </a:p>
      </dsp:txBody>
      <dsp:txXfrm>
        <a:off x="46035" y="219058"/>
        <a:ext cx="2287721" cy="1339299"/>
      </dsp:txXfrm>
    </dsp:sp>
    <dsp:sp modelId="{02327F8F-C916-4560-BD11-A3DC8B9D4991}">
      <dsp:nvSpPr>
        <dsp:cNvPr id="0" name=""/>
        <dsp:cNvSpPr/>
      </dsp:nvSpPr>
      <dsp:spPr>
        <a:xfrm rot="5400000">
          <a:off x="-400739" y="3086847"/>
          <a:ext cx="1768465" cy="213394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9F1157-3738-48D4-9871-88B7DFAF5DAB}">
      <dsp:nvSpPr>
        <dsp:cNvPr id="0" name=""/>
        <dsp:cNvSpPr/>
      </dsp:nvSpPr>
      <dsp:spPr>
        <a:xfrm>
          <a:off x="4368" y="1955683"/>
          <a:ext cx="2371055" cy="142263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err="1" smtClean="0"/>
            <a:t>Optimizeable</a:t>
          </a:r>
          <a:r>
            <a:rPr lang="en-US" sz="2700" kern="1200" dirty="0" smtClean="0"/>
            <a:t> “legal piece parts”</a:t>
          </a:r>
          <a:endParaRPr lang="en-US" sz="2700" kern="1200" dirty="0"/>
        </a:p>
      </dsp:txBody>
      <dsp:txXfrm>
        <a:off x="46035" y="1997350"/>
        <a:ext cx="2287721" cy="1339299"/>
      </dsp:txXfrm>
    </dsp:sp>
    <dsp:sp modelId="{9943E9B6-1180-49A1-9BE4-9F8A0890CD85}">
      <dsp:nvSpPr>
        <dsp:cNvPr id="0" name=""/>
        <dsp:cNvSpPr/>
      </dsp:nvSpPr>
      <dsp:spPr>
        <a:xfrm>
          <a:off x="488406" y="3975993"/>
          <a:ext cx="3143677" cy="213394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16893F-E6B5-4159-A903-91E2BA85ED76}">
      <dsp:nvSpPr>
        <dsp:cNvPr id="0" name=""/>
        <dsp:cNvSpPr/>
      </dsp:nvSpPr>
      <dsp:spPr>
        <a:xfrm>
          <a:off x="4368" y="3733974"/>
          <a:ext cx="2371055" cy="142263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Faster due diligence</a:t>
          </a:r>
          <a:endParaRPr lang="en-US" sz="2700" kern="1200" dirty="0"/>
        </a:p>
      </dsp:txBody>
      <dsp:txXfrm>
        <a:off x="46035" y="3775641"/>
        <a:ext cx="2287721" cy="1339299"/>
      </dsp:txXfrm>
    </dsp:sp>
    <dsp:sp modelId="{B6B0DAC1-B7B8-40D7-8ACE-4A02016CE00E}">
      <dsp:nvSpPr>
        <dsp:cNvPr id="0" name=""/>
        <dsp:cNvSpPr/>
      </dsp:nvSpPr>
      <dsp:spPr>
        <a:xfrm rot="16200000">
          <a:off x="2752763" y="3086847"/>
          <a:ext cx="1768465" cy="213394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3C0636-F4B7-414E-816F-BE5FAD0A9913}">
      <dsp:nvSpPr>
        <dsp:cNvPr id="0" name=""/>
        <dsp:cNvSpPr/>
      </dsp:nvSpPr>
      <dsp:spPr>
        <a:xfrm>
          <a:off x="3157872" y="3733974"/>
          <a:ext cx="2371055" cy="142263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Easier access to funding</a:t>
          </a:r>
          <a:endParaRPr lang="en-US" sz="2700" kern="1200" dirty="0"/>
        </a:p>
      </dsp:txBody>
      <dsp:txXfrm>
        <a:off x="3199539" y="3775641"/>
        <a:ext cx="2287721" cy="1339299"/>
      </dsp:txXfrm>
    </dsp:sp>
    <dsp:sp modelId="{AB73F201-6AD2-405A-A296-2D9700403B6E}">
      <dsp:nvSpPr>
        <dsp:cNvPr id="0" name=""/>
        <dsp:cNvSpPr/>
      </dsp:nvSpPr>
      <dsp:spPr>
        <a:xfrm rot="16200000">
          <a:off x="2752763" y="1308556"/>
          <a:ext cx="1768465" cy="213394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5F23A59-F8E5-45D0-AADB-3D53D1542DDE}">
      <dsp:nvSpPr>
        <dsp:cNvPr id="0" name=""/>
        <dsp:cNvSpPr/>
      </dsp:nvSpPr>
      <dsp:spPr>
        <a:xfrm>
          <a:off x="3157872" y="1955683"/>
          <a:ext cx="2371055" cy="142263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Additional crowd funding</a:t>
          </a:r>
          <a:endParaRPr lang="en-US" sz="2700" kern="1200" dirty="0"/>
        </a:p>
      </dsp:txBody>
      <dsp:txXfrm>
        <a:off x="3199539" y="1997350"/>
        <a:ext cx="2287721" cy="1339299"/>
      </dsp:txXfrm>
    </dsp:sp>
    <dsp:sp modelId="{1B2D114D-E09F-4245-84B0-8667EFFB1045}">
      <dsp:nvSpPr>
        <dsp:cNvPr id="0" name=""/>
        <dsp:cNvSpPr/>
      </dsp:nvSpPr>
      <dsp:spPr>
        <a:xfrm>
          <a:off x="3641909" y="419410"/>
          <a:ext cx="3143677" cy="213394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8AAA5C-F827-4EB1-B6CF-CDBAA12F5193}">
      <dsp:nvSpPr>
        <dsp:cNvPr id="0" name=""/>
        <dsp:cNvSpPr/>
      </dsp:nvSpPr>
      <dsp:spPr>
        <a:xfrm>
          <a:off x="3157872" y="177391"/>
          <a:ext cx="2371055" cy="142263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Marketplace for legal services</a:t>
          </a:r>
          <a:endParaRPr lang="en-US" sz="2700" kern="1200" dirty="0"/>
        </a:p>
      </dsp:txBody>
      <dsp:txXfrm>
        <a:off x="3199539" y="219058"/>
        <a:ext cx="2287721" cy="1339299"/>
      </dsp:txXfrm>
    </dsp:sp>
    <dsp:sp modelId="{62910B71-5D21-4D32-9D19-BE14660A790F}">
      <dsp:nvSpPr>
        <dsp:cNvPr id="0" name=""/>
        <dsp:cNvSpPr/>
      </dsp:nvSpPr>
      <dsp:spPr>
        <a:xfrm rot="5400000">
          <a:off x="5906267" y="1308556"/>
          <a:ext cx="1768465" cy="213394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4D7214-4F3A-4DEB-AA24-1FDD3036BC1B}">
      <dsp:nvSpPr>
        <dsp:cNvPr id="0" name=""/>
        <dsp:cNvSpPr/>
      </dsp:nvSpPr>
      <dsp:spPr>
        <a:xfrm>
          <a:off x="6311375" y="177391"/>
          <a:ext cx="2371055" cy="142263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Marketplace for other services</a:t>
          </a:r>
          <a:endParaRPr lang="en-US" sz="2700" kern="1200" dirty="0"/>
        </a:p>
      </dsp:txBody>
      <dsp:txXfrm>
        <a:off x="6353042" y="219058"/>
        <a:ext cx="2287721" cy="1339299"/>
      </dsp:txXfrm>
    </dsp:sp>
    <dsp:sp modelId="{31E441B1-B78F-4326-9DE4-ACC956892257}">
      <dsp:nvSpPr>
        <dsp:cNvPr id="0" name=""/>
        <dsp:cNvSpPr/>
      </dsp:nvSpPr>
      <dsp:spPr>
        <a:xfrm rot="5400000">
          <a:off x="5906267" y="3086847"/>
          <a:ext cx="1768465" cy="213394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D0519E-987C-4486-B98A-7B39F53CE9A4}">
      <dsp:nvSpPr>
        <dsp:cNvPr id="0" name=""/>
        <dsp:cNvSpPr/>
      </dsp:nvSpPr>
      <dsp:spPr>
        <a:xfrm>
          <a:off x="6311375" y="1955683"/>
          <a:ext cx="2371055" cy="142263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Community support </a:t>
          </a:r>
          <a:endParaRPr lang="en-US" sz="2700" kern="1200" dirty="0"/>
        </a:p>
      </dsp:txBody>
      <dsp:txXfrm>
        <a:off x="6353042" y="1997350"/>
        <a:ext cx="2287721" cy="1339299"/>
      </dsp:txXfrm>
    </dsp:sp>
    <dsp:sp modelId="{3FB15939-56DE-4348-B48F-888B3CDB1A88}">
      <dsp:nvSpPr>
        <dsp:cNvPr id="0" name=""/>
        <dsp:cNvSpPr/>
      </dsp:nvSpPr>
      <dsp:spPr>
        <a:xfrm>
          <a:off x="6311375" y="3733974"/>
          <a:ext cx="2371055" cy="142263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Supercharged Ecology </a:t>
          </a:r>
          <a:endParaRPr lang="en-US" sz="2700" kern="1200" dirty="0"/>
        </a:p>
      </dsp:txBody>
      <dsp:txXfrm>
        <a:off x="6353042" y="3775641"/>
        <a:ext cx="2287721" cy="13392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DescendingProcess">
  <dgm:title val=""/>
  <dgm:desc val=""/>
  <dgm:catLst>
    <dgm:cat type="process" pri="23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clrData>
  <dgm:layoutNode name="Name0">
    <dgm:varLst>
      <dgm:chMax val="7"/>
      <dgm:chPref val="5"/>
    </dgm:varLst>
    <dgm:alg type="composite">
      <dgm:param type="ar" val="1.1"/>
    </dgm:alg>
    <dgm:shape xmlns:r="http://schemas.openxmlformats.org/officeDocument/2006/relationships" r:blip="">
      <dgm:adjLst/>
    </dgm:shape>
    <dgm:choose name="Name1">
      <dgm:if name="Name2" axis="ch" ptType="node" func="cnt" op="equ" val="1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</dgm:constrLst>
      </dgm:if>
      <dgm:if name="Name3" axis="ch" ptType="node" func="cnt" op="equ" val="2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"/>
          <dgm:constr type="b" for="ch" forName="txNode2" refType="h"/>
          <dgm:constr type="r" for="ch" forName="txNode2" refType="w"/>
          <dgm:constr type="h" for="ch" forName="txNode2" refType="h" fact="0.16"/>
        </dgm:constrLst>
      </dgm:if>
      <dgm:if name="Name4" axis="ch" ptType="node" func="cnt" op="equ" val="3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6"/>
          <dgm:constr type="ctrY" for="ch" forName="txNode2" refType="h" fact="0.3992"/>
          <dgm:constr type="r" for="ch" forName="txNode2" refType="w"/>
          <dgm:constr type="h" for="ch" forName="txNode2" refType="h" fact="0.16"/>
          <dgm:constr type="l" for="ch" forName="txNode3" refType="w" fact="0.5"/>
          <dgm:constr type="b" for="ch" forName="txNode3" refType="h"/>
          <dgm:constr type="r" for="ch" forName="txNode3" refType="w"/>
          <dgm:constr type="h" for="ch" forName="txNode3" refType="h" fact="0.16"/>
          <dgm:constr type="ctrX" for="ch" forName="dotNode2" refType="w" fact="0.4782"/>
          <dgm:constr type="ctrY" for="ch" forName="dotNode2" refType="h" fact="0.3992"/>
          <dgm:constr type="h" for="ch" forName="dotNode2" refType="h" fact="0.0218"/>
          <dgm:constr type="w" for="ch" forName="dotNode2" refType="h" refFor="ch" refForName="dotNode2"/>
        </dgm:constrLst>
      </dgm:if>
      <dgm:if name="Name5" axis="ch" ptType="node" func="cnt" op="equ" val="4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9"/>
          <dgm:constr type="ctrY" for="ch" forName="txNode2" refType="h" fact="0.315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5004"/>
          <dgm:constr type="r" for="ch" forName="txNode3" refType="w" fact="0.5"/>
          <dgm:constr type="h" for="ch" forName="txNode3" refType="h" fact="0.16"/>
          <dgm:constr type="l" for="ch" forName="txNode4" refType="w" fact="0.5"/>
          <dgm:constr type="b" for="ch" forName="txNode4" refType="h"/>
          <dgm:constr type="r" for="ch" forName="txNode4" refType="w"/>
          <dgm:constr type="h" for="ch" forName="txNode4" refType="h" fact="0.16"/>
          <dgm:constr type="ctrX" for="ch" forName="dotNode2" refType="w" fact="0.39"/>
          <dgm:constr type="ctrY" for="ch" forName="dotNode2" refType="h" fact="0.315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5626"/>
          <dgm:constr type="ctrY" for="ch" forName="dotNode3" refType="h" fact="0.5004"/>
          <dgm:constr type="h" for="ch" forName="dotNode3" refType="h" fact="0.0218"/>
          <dgm:constr type="w" for="ch" forName="dotNode3" refType="h" refFor="ch" refForName="dotNode3"/>
        </dgm:constrLst>
      </dgm:if>
      <dgm:if name="Name6" axis="ch" ptType="node" func="cnt" op="equ" val="5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6"/>
          <dgm:constr type="ctrY" for="ch" forName="txNode2" refType="h" fact="0.2885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4089"/>
          <dgm:constr type="r" for="ch" forName="txNode3" refType="w" fact="0.43"/>
          <dgm:constr type="h" for="ch" forName="txNode3" refType="h" fact="0.16"/>
          <dgm:constr type="l" for="ch" forName="txNode4" refType="w" fact="0.67"/>
          <dgm:constr type="ctrY" for="ch" forName="txNode4" refType="h" fact="0.5497"/>
          <dgm:constr type="r" for="ch" forName="txNode4" refType="w"/>
          <dgm:constr type="h" for="ch" forName="txNode4" refType="h" fact="0.16"/>
          <dgm:constr type="l" for="ch" forName="txNode5" refType="w" fact="0.5"/>
          <dgm:constr type="b" for="ch" forName="txNode5" refType="h"/>
          <dgm:constr type="r" for="ch" forName="txNode5" refType="w"/>
          <dgm:constr type="h" for="ch" forName="txNode5" refType="h" fact="0.16"/>
          <dgm:constr type="ctrX" for="ch" forName="dotNode2" refType="w" fact="0.3565"/>
          <dgm:constr type="ctrY" for="ch" forName="dotNode2" refType="h" fact="0.2885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922"/>
          <dgm:constr type="ctrY" for="ch" forName="dotNode3" refType="h" fact="0.4089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939"/>
          <dgm:constr type="ctrY" for="ch" forName="dotNode4" refType="h" fact="0.5497"/>
          <dgm:constr type="h" for="ch" forName="dotNode4" refType="h" fact="0.0218"/>
          <dgm:constr type="w" for="ch" forName="dotNode4" refType="h" refFor="ch" refForName="dotNode4"/>
        </dgm:constrLst>
      </dgm:if>
      <dgm:if name="Name7" axis="ch" ptType="node" func="cnt" op="equ" val="6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5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638"/>
          <dgm:constr type="r" for="ch" forName="txNode3" refType="w" fact="0.37"/>
          <dgm:constr type="h" for="ch" forName="txNode3" refType="h" fact="0.16"/>
          <dgm:constr type="l" for="ch" forName="txNode4" refType="w" fact="0.63"/>
          <dgm:constr type="ctrY" for="ch" forName="txNode4" refType="h" fact="0.4744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961"/>
          <dgm:constr type="r" for="ch" forName="txNode5" refType="w" fact="0.55"/>
          <dgm:constr type="h" for="ch" forName="txNode5" refType="h" fact="0.16"/>
          <dgm:constr type="l" for="ch" forName="txNode6" refType="w" fact="0.5"/>
          <dgm:constr type="b" for="ch" forName="txNode6" refType="h"/>
          <dgm:constr type="r" for="ch" forName="txNode6" refType="w"/>
          <dgm:constr type="h" for="ch" forName="txNode6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419"/>
          <dgm:constr type="ctrY" for="ch" forName="dotNode3" refType="h" fact="0.3638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425"/>
          <dgm:constr type="ctrY" for="ch" forName="dotNode4" refType="h" fact="0.4744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6153"/>
          <dgm:constr type="ctrY" for="ch" forName="dotNode5" refType="h" fact="0.5961"/>
          <dgm:constr type="h" for="ch" forName="dotNode5" refType="h" fact="0.0218"/>
          <dgm:constr type="w" for="ch" forName="dotNode5" refType="h" refFor="ch" refForName="dotNode5"/>
        </dgm:constrLst>
      </dgm:if>
      <dgm:else name="Name8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4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424"/>
          <dgm:constr type="r" for="ch" forName="txNode3" refType="w" fact="0.33"/>
          <dgm:constr type="h" for="ch" forName="txNode3" refType="h" fact="0.16"/>
          <dgm:constr type="l" for="ch" forName="txNode4" refType="w" fact="0.61"/>
          <dgm:constr type="ctrY" for="ch" forName="txNode4" refType="h" fact="0.4276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218"/>
          <dgm:constr type="r" for="ch" forName="txNode5" refType="w" fact="0.5"/>
          <dgm:constr type="h" for="ch" forName="txNode5" refType="h" fact="0.16"/>
          <dgm:constr type="l" for="ch" forName="txNode6" refType="w" fact="0.71"/>
          <dgm:constr type="ctrY" for="ch" forName="txNode6" refType="h" fact="0.6179"/>
          <dgm:constr type="r" for="ch" forName="txNode6" refType="w"/>
          <dgm:constr type="h" for="ch" forName="txNode6" refType="h" fact="0.16"/>
          <dgm:constr type="l" for="ch" forName="txNode7" refType="w" fact="0.5"/>
          <dgm:constr type="b" for="ch" forName="txNode7" refType="h"/>
          <dgm:constr type="r" for="ch" forName="txNode7" refType="w"/>
          <dgm:constr type="h" for="ch" forName="txNode7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25"/>
          <dgm:constr type="ctrY" for="ch" forName="dotNode3" refType="h" fact="0.3424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05"/>
          <dgm:constr type="ctrY" for="ch" forName="dotNode4" refType="h" fact="0.4276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5742"/>
          <dgm:constr type="ctrY" for="ch" forName="dotNode5" refType="h" fact="0.5218"/>
          <dgm:constr type="h" for="ch" forName="dotNode5" refType="h" fact="0.0218"/>
          <dgm:constr type="w" for="ch" forName="dotNode5" refType="h" refFor="ch" refForName="dotNode5"/>
          <dgm:constr type="ctrX" for="ch" forName="dotNode6" refType="w" fact="0.63"/>
          <dgm:constr type="ctrY" for="ch" forName="dotNode6" refType="h" fact="0.6179"/>
          <dgm:constr type="h" for="ch" forName="dotNode6" refType="h" fact="0.0218"/>
          <dgm:constr type="w" for="ch" forName="dotNode6" refType="h" refFor="ch" refForName="dotNode6"/>
        </dgm:constrLst>
      </dgm:else>
    </dgm:choose>
    <dgm:forEach name="Name9" axis="self" ptType="parTrans">
      <dgm:forEach name="Name10" axis="self" ptType="sibTrans" st="2">
        <dgm:forEach name="dotRepeat" axis="self">
          <dgm:layoutNode name="dotRepeatNode" styleLbl="fgShp">
            <dgm:alg type="sp"/>
            <dgm:shape xmlns:r="http://schemas.openxmlformats.org/officeDocument/2006/relationships" type="ellipse" r:blip="">
              <dgm:adjLst/>
            </dgm:shape>
            <dgm:presOf axis="self"/>
          </dgm:layoutNode>
        </dgm:forEach>
      </dgm:forEach>
    </dgm:forEach>
    <dgm:choose name="Name11">
      <dgm:if name="Name12" axis="ch" ptType="node" func="cnt" op="gte" val="1">
        <dgm:layoutNode name="arrowNode" styleLbl="node1">
          <dgm:alg type="sp"/>
          <dgm:shape xmlns:r="http://schemas.openxmlformats.org/officeDocument/2006/relationships" rot="73.2729" type="swooshArrow" r:blip="">
            <dgm:adjLst>
              <dgm:adj idx="1" val="0.1631"/>
              <dgm:adj idx="2" val="0.3137"/>
            </dgm:adjLst>
          </dgm:shape>
          <dgm:presOf/>
        </dgm:layoutNode>
      </dgm:if>
      <dgm:else name="Name13"/>
    </dgm:choose>
    <dgm:forEach name="Name14" axis="ch" ptType="node" cnt="1">
      <dgm:layoutNode name="txNode1" styleLbl="revTx">
        <dgm:varLst>
          <dgm:bulletEnabled val="1"/>
        </dgm:varLst>
        <dgm:alg type="tx">
          <dgm:param type="txAnchorVert" val="b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5" axis="ch" ptType="node" st="2" cnt="1">
      <dgm:layoutNode name="txNode2" styleLbl="revTx">
        <dgm:varLst>
          <dgm:bulletEnabled val="1"/>
        </dgm:varLst>
        <dgm:choose name="Name16">
          <dgm:if name="Name17" axis="self" ptType="node" func="revPos" op="equ" val="1">
            <dgm:alg type="tx">
              <dgm:param type="txAnchorVert" val="t"/>
            </dgm:alg>
          </dgm:if>
          <dgm:if name="Name18" axis="self" ptType="node" func="posOdd" op="equ" val="1">
            <dgm:alg type="tx">
              <dgm:param type="parTxLTRAlign" val="r"/>
              <dgm:param type="parTxRTLAlign" val="r"/>
            </dgm:alg>
          </dgm:if>
          <dgm:else name="Name1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20">
        <dgm:if name="Name21" axis="par ch" ptType="all node" func="cnt" op="neq" val="2">
          <dgm:forEach name="Name22" axis="follow" ptType="sibTrans" cnt="1">
            <dgm:layoutNode name="dotNode2">
              <dgm:alg type="sp"/>
              <dgm:shape xmlns:r="http://schemas.openxmlformats.org/officeDocument/2006/relationships" r:blip="">
                <dgm:adjLst/>
              </dgm:shape>
              <dgm:presOf/>
              <dgm:forEach name="Name23" ref="dotRepeat"/>
            </dgm:layoutNode>
          </dgm:forEach>
        </dgm:if>
        <dgm:else name="Name24"/>
      </dgm:choose>
    </dgm:forEach>
    <dgm:forEach name="Name25" axis="ch" ptType="node" st="3" cnt="1">
      <dgm:layoutNode name="txNode3" styleLbl="revTx">
        <dgm:varLst>
          <dgm:bulletEnabled val="1"/>
        </dgm:varLst>
        <dgm:choose name="Name26">
          <dgm:if name="Name27" axis="self" ptType="node" func="revPos" op="equ" val="1">
            <dgm:alg type="tx">
              <dgm:param type="txAnchorVert" val="t"/>
            </dgm:alg>
          </dgm:if>
          <dgm:if name="Name28" axis="self" ptType="node" func="posOdd" op="equ" val="1">
            <dgm:alg type="tx">
              <dgm:param type="parTxLTRAlign" val="r"/>
              <dgm:param type="parTxRTLAlign" val="r"/>
            </dgm:alg>
          </dgm:if>
          <dgm:else name="Name2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30">
        <dgm:if name="Name31" axis="par ch" ptType="all node" func="cnt" op="neq" val="3">
          <dgm:forEach name="Name32" axis="follow" ptType="sibTrans" cnt="1">
            <dgm:layoutNode name="dotNode3">
              <dgm:alg type="sp"/>
              <dgm:shape xmlns:r="http://schemas.openxmlformats.org/officeDocument/2006/relationships" r:blip="">
                <dgm:adjLst/>
              </dgm:shape>
              <dgm:presOf/>
              <dgm:forEach name="Name33" ref="dotRepeat"/>
            </dgm:layoutNode>
          </dgm:forEach>
        </dgm:if>
        <dgm:else name="Name34"/>
      </dgm:choose>
    </dgm:forEach>
    <dgm:forEach name="Name35" axis="ch" ptType="node" st="4" cnt="1">
      <dgm:layoutNode name="txNode4" styleLbl="revTx">
        <dgm:varLst>
          <dgm:bulletEnabled val="1"/>
        </dgm:varLst>
        <dgm:choose name="Name36">
          <dgm:if name="Name37" axis="self" ptType="node" func="revPos" op="equ" val="1">
            <dgm:alg type="tx">
              <dgm:param type="txAnchorVert" val="t"/>
            </dgm:alg>
          </dgm:if>
          <dgm:if name="Name38" axis="self" ptType="node" func="posOdd" op="equ" val="1">
            <dgm:alg type="tx">
              <dgm:param type="parTxLTRAlign" val="r"/>
              <dgm:param type="parTxRTLAlign" val="r"/>
            </dgm:alg>
          </dgm:if>
          <dgm:else name="Name3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40">
        <dgm:if name="Name41" axis="par ch" ptType="all node" func="cnt" op="neq" val="4">
          <dgm:forEach name="Name42" axis="follow" ptType="sibTrans" cnt="1">
            <dgm:layoutNode name="dotNode4">
              <dgm:alg type="sp"/>
              <dgm:shape xmlns:r="http://schemas.openxmlformats.org/officeDocument/2006/relationships" r:blip="">
                <dgm:adjLst/>
              </dgm:shape>
              <dgm:presOf/>
              <dgm:forEach name="Name43" ref="dotRepeat"/>
            </dgm:layoutNode>
          </dgm:forEach>
        </dgm:if>
        <dgm:else name="Name44"/>
      </dgm:choose>
    </dgm:forEach>
    <dgm:forEach name="Name45" axis="ch" ptType="node" st="5" cnt="1">
      <dgm:layoutNode name="txNode5" styleLbl="revTx">
        <dgm:varLst>
          <dgm:bulletEnabled val="1"/>
        </dgm:varLst>
        <dgm:choose name="Name46">
          <dgm:if name="Name47" axis="self" ptType="node" func="revPos" op="equ" val="1">
            <dgm:alg type="tx">
              <dgm:param type="txAnchorVert" val="t"/>
            </dgm:alg>
          </dgm:if>
          <dgm:if name="Name48" axis="self" ptType="node" func="posOdd" op="equ" val="1">
            <dgm:alg type="tx">
              <dgm:param type="parTxLTRAlign" val="r"/>
              <dgm:param type="parTxRTLAlign" val="r"/>
            </dgm:alg>
          </dgm:if>
          <dgm:else name="Name4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50">
        <dgm:if name="Name51" axis="par ch" ptType="all node" func="cnt" op="neq" val="5">
          <dgm:forEach name="Name52" axis="follow" ptType="sibTrans" cnt="1">
            <dgm:layoutNode name="dotNode5">
              <dgm:alg type="sp"/>
              <dgm:shape xmlns:r="http://schemas.openxmlformats.org/officeDocument/2006/relationships" r:blip="">
                <dgm:adjLst/>
              </dgm:shape>
              <dgm:presOf/>
              <dgm:forEach name="Name53" ref="dotRepeat"/>
            </dgm:layoutNode>
          </dgm:forEach>
        </dgm:if>
        <dgm:else name="Name54"/>
      </dgm:choose>
    </dgm:forEach>
    <dgm:forEach name="Name55" axis="ch" ptType="node" st="6" cnt="1">
      <dgm:layoutNode name="txNode6" styleLbl="revTx">
        <dgm:varLst>
          <dgm:bulletEnabled val="1"/>
        </dgm:varLst>
        <dgm:choose name="Name56">
          <dgm:if name="Name57" axis="self" ptType="node" func="revPos" op="equ" val="1">
            <dgm:alg type="tx">
              <dgm:param type="txAnchorVert" val="t"/>
            </dgm:alg>
          </dgm:if>
          <dgm:if name="Name58" axis="self" ptType="node" func="posOdd" op="equ" val="1">
            <dgm:alg type="tx">
              <dgm:param type="parTxLTRAlign" val="r"/>
              <dgm:param type="parTxRTLAlign" val="r"/>
            </dgm:alg>
          </dgm:if>
          <dgm:else name="Name5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60">
        <dgm:if name="Name61" axis="par ch" ptType="all node" func="cnt" op="neq" val="6">
          <dgm:forEach name="Name62" axis="follow" ptType="sibTrans" cnt="1">
            <dgm:layoutNode name="dotNode6">
              <dgm:alg type="sp"/>
              <dgm:shape xmlns:r="http://schemas.openxmlformats.org/officeDocument/2006/relationships" r:blip="">
                <dgm:adjLst/>
              </dgm:shape>
              <dgm:presOf/>
              <dgm:forEach name="Name63" ref="dotRepeat"/>
            </dgm:layoutNode>
          </dgm:forEach>
        </dgm:if>
        <dgm:else name="Name64"/>
      </dgm:choose>
    </dgm:forEach>
    <dgm:forEach name="Name65" axis="ch" ptType="node" st="7" cnt="1">
      <dgm:layoutNode name="txNode7" styleLbl="revTx">
        <dgm:varLst>
          <dgm:bulletEnabled val="1"/>
        </dgm:varLst>
        <dgm:alg type="tx">
          <dgm:param type="txAnchorVert" val="t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35952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5933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697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3468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5702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570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8963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3271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4030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8093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6687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715514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1CFB5E-1311-4346-8C5A-3103D9CE5E0D}" type="datetimeFigureOut">
              <a:rPr lang="en-US" smtClean="0"/>
              <a:t>9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13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diagramQuickStyle" Target="../diagrams/quickStyle2.xml"/><Relationship Id="rId3" Type="http://schemas.openxmlformats.org/officeDocument/2006/relationships/slideLayout" Target="../slideLayouts/slideLayout6.xml"/><Relationship Id="rId7" Type="http://schemas.openxmlformats.org/officeDocument/2006/relationships/diagramLayout" Target="../diagrams/layout1.xml"/><Relationship Id="rId12" Type="http://schemas.openxmlformats.org/officeDocument/2006/relationships/diagramLayout" Target="../diagrams/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diagramData" Target="../diagrams/data1.xml"/><Relationship Id="rId11" Type="http://schemas.openxmlformats.org/officeDocument/2006/relationships/diagramData" Target="../diagrams/data2.xml"/><Relationship Id="rId5" Type="http://schemas.openxmlformats.org/officeDocument/2006/relationships/image" Target="../media/image1.emf"/><Relationship Id="rId15" Type="http://schemas.microsoft.com/office/2007/relationships/diagramDrawing" Target="../diagrams/drawing2.xml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5.bin"/><Relationship Id="rId9" Type="http://schemas.openxmlformats.org/officeDocument/2006/relationships/diagramColors" Target="../diagrams/colors1.xml"/><Relationship Id="rId14" Type="http://schemas.openxmlformats.org/officeDocument/2006/relationships/diagramColors" Target="../diagrams/colors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62726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 descr="http://img0.etsystatic.com/012/0/7278987/il_570xN.417209494_ha7d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50" y="0"/>
            <a:ext cx="8172450" cy="8172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-762000" y="2644775"/>
            <a:ext cx="7772400" cy="1470025"/>
          </a:xfrm>
        </p:spPr>
        <p:txBody>
          <a:bodyPr>
            <a:normAutofit/>
          </a:bodyPr>
          <a:lstStyle/>
          <a:p>
            <a:r>
              <a:rPr lang="en-US" sz="4300" dirty="0" err="1"/>
              <a:t>B</a:t>
            </a:r>
            <a:r>
              <a:rPr lang="en-US" sz="4300" dirty="0" err="1" smtClean="0"/>
              <a:t>cology</a:t>
            </a:r>
            <a:r>
              <a:rPr lang="en-US" sz="4300" dirty="0" smtClean="0"/>
              <a:t> </a:t>
            </a:r>
            <a:endParaRPr lang="en-US" sz="43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0" y="3810000"/>
            <a:ext cx="6400800" cy="1752600"/>
          </a:xfrm>
        </p:spPr>
        <p:txBody>
          <a:bodyPr>
            <a:normAutofit/>
          </a:bodyPr>
          <a:lstStyle/>
          <a:p>
            <a:r>
              <a:rPr lang="en-US" sz="2700" dirty="0" smtClean="0">
                <a:solidFill>
                  <a:schemeClr val="tx1"/>
                </a:solidFill>
              </a:rPr>
              <a:t>Business Ecology</a:t>
            </a:r>
            <a:endParaRPr lang="en-US" sz="2700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816974" y="6172200"/>
            <a:ext cx="32508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IT Team </a:t>
            </a:r>
          </a:p>
          <a:p>
            <a:r>
              <a:rPr lang="en-US" dirty="0" smtClean="0"/>
              <a:t>2014 Code the Deal </a:t>
            </a:r>
            <a:r>
              <a:rPr lang="en-US" dirty="0" err="1" smtClean="0"/>
              <a:t>Hackath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435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on Accor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22041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ynamicity of Legal document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s opposed to static documents</a:t>
            </a:r>
          </a:p>
        </p:txBody>
      </p:sp>
    </p:spTree>
    <p:extLst>
      <p:ext uri="{BB962C8B-B14F-4D97-AF65-F5344CB8AC3E}">
        <p14:creationId xmlns:p14="http://schemas.microsoft.com/office/powerpoint/2010/main" val="1770392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articipation </a:t>
            </a:r>
            <a:r>
              <a:rPr lang="en-US" dirty="0" smtClean="0"/>
              <a:t>Agreement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H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566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tandard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“System  Aspect”</a:t>
            </a:r>
          </a:p>
          <a:p>
            <a:r>
              <a:rPr lang="en-US" dirty="0" smtClean="0"/>
              <a:t>Allowing All Parties </a:t>
            </a:r>
            <a:r>
              <a:rPr lang="en-US" dirty="0" smtClean="0"/>
              <a:t>Interoperability</a:t>
            </a:r>
          </a:p>
          <a:p>
            <a:r>
              <a:rPr lang="en-US" dirty="0" smtClean="0"/>
              <a:t>Some (minimum) data agreed to be open source</a:t>
            </a:r>
          </a:p>
          <a:p>
            <a:pPr lvl="1"/>
            <a:r>
              <a:rPr lang="en-US" dirty="0" smtClean="0"/>
              <a:t>Number of startups in the </a:t>
            </a:r>
            <a:r>
              <a:rPr lang="en-US" dirty="0" err="1" smtClean="0"/>
              <a:t>Bcology</a:t>
            </a:r>
            <a:r>
              <a:rPr lang="en-US" dirty="0" smtClean="0"/>
              <a:t> </a:t>
            </a:r>
          </a:p>
          <a:p>
            <a:pPr lvl="1"/>
            <a:r>
              <a:rPr lang="en-US" dirty="0" smtClean="0"/>
              <a:t>Sector of startup </a:t>
            </a:r>
          </a:p>
          <a:p>
            <a:pPr lvl="1"/>
            <a:r>
              <a:rPr lang="en-US" dirty="0" smtClean="0"/>
              <a:t>Basic aim and business model</a:t>
            </a:r>
          </a:p>
          <a:p>
            <a:r>
              <a:rPr lang="en-US" dirty="0" err="1" smtClean="0"/>
              <a:t>Bcology</a:t>
            </a:r>
            <a:r>
              <a:rPr lang="en-US" dirty="0" smtClean="0"/>
              <a:t> trust network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304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utability of Contract Ele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envelope which allows greater transparency and analysis </a:t>
            </a:r>
          </a:p>
          <a:p>
            <a:r>
              <a:rPr lang="en-US" dirty="0" smtClean="0"/>
              <a:t>Attracts funders through added efficiency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006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ase of Reu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etadata </a:t>
            </a:r>
            <a:r>
              <a:rPr lang="en-US" dirty="0"/>
              <a:t>comprising the contract terms for use in subsequent deals or other relevant transactions</a:t>
            </a:r>
          </a:p>
        </p:txBody>
      </p:sp>
    </p:spTree>
    <p:extLst>
      <p:ext uri="{BB962C8B-B14F-4D97-AF65-F5344CB8AC3E}">
        <p14:creationId xmlns:p14="http://schemas.microsoft.com/office/powerpoint/2010/main" val="2473228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</a:t>
            </a:r>
            <a:r>
              <a:rPr lang="en-US" dirty="0" smtClean="0"/>
              <a:t>omplete Walkthrough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 smtClean="0"/>
              <a:t>Buzzzzzzzzzzzzzzzzzzz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1365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rtup Perspectiv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fontAlgn="base"/>
            <a:r>
              <a:rPr lang="en-US" dirty="0" err="1" smtClean="0"/>
              <a:t>JoeJoe</a:t>
            </a:r>
            <a:r>
              <a:rPr lang="en-US" dirty="0" smtClean="0"/>
              <a:t> </a:t>
            </a:r>
            <a:r>
              <a:rPr lang="en-US" dirty="0"/>
              <a:t>and Sally found a widget biz </a:t>
            </a:r>
          </a:p>
          <a:p>
            <a:pPr fontAlgn="base"/>
            <a:r>
              <a:rPr lang="en-US" dirty="0"/>
              <a:t>Signal open to investment </a:t>
            </a:r>
          </a:p>
          <a:p>
            <a:pPr fontAlgn="base"/>
            <a:r>
              <a:rPr lang="en-US" dirty="0"/>
              <a:t>Consummate participation in Crowd Funding System</a:t>
            </a:r>
          </a:p>
          <a:p>
            <a:pPr fontAlgn="base"/>
            <a:r>
              <a:rPr lang="en-US" dirty="0"/>
              <a:t>Close 20 widget deals with buyers over 1 year</a:t>
            </a:r>
          </a:p>
          <a:p>
            <a:pPr fontAlgn="base"/>
            <a:r>
              <a:rPr lang="en-US" dirty="0"/>
              <a:t>Signal open to investment </a:t>
            </a:r>
          </a:p>
          <a:p>
            <a:pPr fontAlgn="base"/>
            <a:r>
              <a:rPr lang="en-US" dirty="0"/>
              <a:t>Collect shows of interest</a:t>
            </a:r>
          </a:p>
          <a:p>
            <a:pPr fontAlgn="base"/>
            <a:r>
              <a:rPr lang="en-US" dirty="0"/>
              <a:t>Consummate investment with VC 1</a:t>
            </a:r>
          </a:p>
          <a:p>
            <a:pPr fontAlgn="base"/>
            <a:r>
              <a:rPr lang="en-US" dirty="0"/>
              <a:t>Close acquisition of gadget compan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5407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vestor Perspectiv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ortfolio tool </a:t>
            </a:r>
          </a:p>
          <a:p>
            <a:pPr lvl="1"/>
            <a:r>
              <a:rPr lang="en-US" dirty="0" smtClean="0"/>
              <a:t>Equity, debt, and cash positions </a:t>
            </a:r>
          </a:p>
          <a:p>
            <a:pPr lvl="1"/>
            <a:r>
              <a:rPr lang="en-US" dirty="0" smtClean="0"/>
              <a:t>Due diligence dashboard </a:t>
            </a:r>
          </a:p>
          <a:p>
            <a:pPr lvl="1"/>
            <a:r>
              <a:rPr lang="en-US" dirty="0" smtClean="0"/>
              <a:t>Ability to request proprietary information </a:t>
            </a:r>
          </a:p>
          <a:p>
            <a:pPr lvl="1"/>
            <a:r>
              <a:rPr lang="en-US" dirty="0" smtClean="0"/>
              <a:t>When negotiating deal, ability to pull in terms from prior deals at the target startup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2490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ummary and Closing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Daw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0690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1201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b="1">
              <a:latin typeface="Franklin Gothic Book"/>
              <a:sym typeface="Franklin Gothic Book"/>
            </a:endParaRPr>
          </a:p>
        </p:txBody>
      </p:sp>
      <p:sp>
        <p:nvSpPr>
          <p:cNvPr id="37" name="Text Placeholder 5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146175" y="1804988"/>
            <a:ext cx="6851650" cy="324802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161925" tIns="161925" rIns="0" bIns="161925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Vision </a:t>
            </a:r>
            <a:r>
              <a:rPr lang="en-US" b="1" dirty="0" smtClean="0"/>
              <a:t>“Nectar”</a:t>
            </a:r>
            <a:endParaRPr lang="en-US" b="1" dirty="0" smtClean="0"/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Distributed Provisions “Honeycomb” </a:t>
            </a:r>
            <a:endParaRPr lang="en-US" b="1" dirty="0" smtClean="0"/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Participation Agreements “Hive”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Complete walkthrough “</a:t>
            </a:r>
            <a:r>
              <a:rPr lang="en-US" b="1" dirty="0" err="1" smtClean="0"/>
              <a:t>Buzzzzzzz</a:t>
            </a:r>
            <a:r>
              <a:rPr lang="en-US" b="1" dirty="0" smtClean="0"/>
              <a:t>”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Supercharged Network “</a:t>
            </a:r>
            <a:r>
              <a:rPr lang="en-US" b="1" dirty="0" err="1" smtClean="0"/>
              <a:t>QueenBee</a:t>
            </a:r>
            <a:r>
              <a:rPr lang="en-US" b="1" dirty="0" smtClean="0"/>
              <a:t>”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Summary and Closing “Dawn”</a:t>
            </a:r>
            <a:endParaRPr lang="en-US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Bcology</a:t>
            </a:r>
            <a:r>
              <a:rPr lang="en-US" dirty="0" smtClean="0"/>
              <a:t> 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184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re </a:t>
            </a:r>
            <a:r>
              <a:rPr lang="en-US" dirty="0"/>
              <a:t>A</a:t>
            </a:r>
            <a:r>
              <a:rPr lang="en-US" dirty="0" smtClean="0"/>
              <a:t>pparent Lat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is point </a:t>
            </a:r>
          </a:p>
          <a:p>
            <a:r>
              <a:rPr lang="en-US" dirty="0" smtClean="0"/>
              <a:t>That point </a:t>
            </a:r>
          </a:p>
          <a:p>
            <a:r>
              <a:rPr lang="en-US" dirty="0" smtClean="0"/>
              <a:t>Other point </a:t>
            </a:r>
          </a:p>
        </p:txBody>
      </p:sp>
    </p:spTree>
    <p:extLst>
      <p:ext uri="{BB962C8B-B14F-4D97-AF65-F5344CB8AC3E}">
        <p14:creationId xmlns:p14="http://schemas.microsoft.com/office/powerpoint/2010/main" val="20731691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More Information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github.com</a:t>
            </a:r>
            <a:r>
              <a:rPr lang="en-US" dirty="0"/>
              <a:t>/</a:t>
            </a:r>
            <a:r>
              <a:rPr lang="en-US" dirty="0" err="1"/>
              <a:t>HumanDynamics</a:t>
            </a:r>
            <a:r>
              <a:rPr lang="en-US" dirty="0"/>
              <a:t>/</a:t>
            </a:r>
            <a:r>
              <a:rPr lang="en-US"/>
              <a:t>CodeTheDeal</a:t>
            </a:r>
          </a:p>
        </p:txBody>
      </p:sp>
    </p:spTree>
    <p:extLst>
      <p:ext uri="{BB962C8B-B14F-4D97-AF65-F5344CB8AC3E}">
        <p14:creationId xmlns:p14="http://schemas.microsoft.com/office/powerpoint/2010/main" val="35537419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1052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Vision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Nect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866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2287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474587062"/>
              </p:ext>
            </p:extLst>
          </p:nvPr>
        </p:nvGraphicFramePr>
        <p:xfrm>
          <a:off x="1219200" y="1371600"/>
          <a:ext cx="7010400" cy="5308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85522445"/>
              </p:ext>
            </p:extLst>
          </p:nvPr>
        </p:nvGraphicFramePr>
        <p:xfrm>
          <a:off x="1524000" y="1397000"/>
          <a:ext cx="6705600" cy="546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An Ecosystem of Enabling Startups</a:t>
            </a:r>
            <a:br>
              <a:rPr lang="en-US" dirty="0" smtClean="0"/>
            </a:br>
            <a:r>
              <a:rPr lang="en-US" dirty="0" smtClean="0"/>
              <a:t>Providing the platform f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819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r>
              <a:rPr lang="en-US" dirty="0" smtClean="0"/>
              <a:t>Startup in a box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90199795"/>
              </p:ext>
            </p:extLst>
          </p:nvPr>
        </p:nvGraphicFramePr>
        <p:xfrm>
          <a:off x="609600" y="609600"/>
          <a:ext cx="8382000" cy="6172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39690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alue Chain</a:t>
            </a:r>
            <a:endParaRPr lang="en-US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191005703"/>
              </p:ext>
            </p:extLst>
          </p:nvPr>
        </p:nvGraphicFramePr>
        <p:xfrm>
          <a:off x="152400" y="1371600"/>
          <a:ext cx="8686800" cy="533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317750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licon Valley</a:t>
            </a:r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2590800" y="914400"/>
            <a:ext cx="3962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394384" y="1371600"/>
            <a:ext cx="4355231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200" dirty="0" smtClean="0"/>
              <a:t>Networked</a:t>
            </a:r>
          </a:p>
          <a:p>
            <a:r>
              <a:rPr lang="en-US" sz="7200" dirty="0" smtClean="0"/>
              <a:t> Economy </a:t>
            </a:r>
            <a:endParaRPr lang="en-US" sz="7200" dirty="0"/>
          </a:p>
        </p:txBody>
      </p:sp>
    </p:spTree>
    <p:extLst>
      <p:ext uri="{BB962C8B-B14F-4D97-AF65-F5344CB8AC3E}">
        <p14:creationId xmlns:p14="http://schemas.microsoft.com/office/powerpoint/2010/main" val="2535415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istributed Parameter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Honeycomb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0210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arity of Contract Ele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“Not yet-another-template” </a:t>
            </a:r>
          </a:p>
          <a:p>
            <a:r>
              <a:rPr lang="en-US" dirty="0"/>
              <a:t>inheritance system</a:t>
            </a:r>
          </a:p>
        </p:txBody>
      </p:sp>
    </p:spTree>
    <p:extLst>
      <p:ext uri="{BB962C8B-B14F-4D97-AF65-F5344CB8AC3E}">
        <p14:creationId xmlns:p14="http://schemas.microsoft.com/office/powerpoint/2010/main" val="2824027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cF02RdVEaOOjGWx9v08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Ec4XE8eEm_iAFABucT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24</TotalTime>
  <Words>316</Words>
  <Application>Microsoft Office PowerPoint</Application>
  <PresentationFormat>On-screen Show (4:3)</PresentationFormat>
  <Paragraphs>83</Paragraphs>
  <Slides>2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3" baseType="lpstr">
      <vt:lpstr>Office Theme</vt:lpstr>
      <vt:lpstr>think-cell Slide</vt:lpstr>
      <vt:lpstr>Bcology </vt:lpstr>
      <vt:lpstr>Bcology Agenda</vt:lpstr>
      <vt:lpstr>Vision</vt:lpstr>
      <vt:lpstr>An Ecosystem of Enabling Startups Providing the platform for</vt:lpstr>
      <vt:lpstr>Startup in a box</vt:lpstr>
      <vt:lpstr>Value Chain</vt:lpstr>
      <vt:lpstr>Silicon Valley</vt:lpstr>
      <vt:lpstr>Distributed Parameters</vt:lpstr>
      <vt:lpstr>Modularity of Contract Elements</vt:lpstr>
      <vt:lpstr>Common Accord</vt:lpstr>
      <vt:lpstr>Dynamicity of Legal document </vt:lpstr>
      <vt:lpstr>Participation Agreements</vt:lpstr>
      <vt:lpstr>Standards</vt:lpstr>
      <vt:lpstr>Computability of Contract Elements</vt:lpstr>
      <vt:lpstr>Ease of Reuse</vt:lpstr>
      <vt:lpstr>Complete Walkthrough</vt:lpstr>
      <vt:lpstr>Startup Perspective</vt:lpstr>
      <vt:lpstr>Investor Perspective</vt:lpstr>
      <vt:lpstr>Summary and Closing</vt:lpstr>
      <vt:lpstr>More Apparent Later</vt:lpstr>
      <vt:lpstr>For More Information:</vt:lpstr>
    </vt:vector>
  </TitlesOfParts>
  <Company>MI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rt Upper</dc:title>
  <dc:creator>Xiao Lu</dc:creator>
  <cp:lastModifiedBy>Xiao Lu</cp:lastModifiedBy>
  <cp:revision>15</cp:revision>
  <dcterms:created xsi:type="dcterms:W3CDTF">2014-09-18T17:18:42Z</dcterms:created>
  <dcterms:modified xsi:type="dcterms:W3CDTF">2014-09-20T23:23:24Z</dcterms:modified>
</cp:coreProperties>
</file>